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3"/>
  </p:sldMasterIdLst>
  <p:notesMasterIdLst>
    <p:notesMasterId r:id="rId5"/>
  </p:notesMasterIdLst>
  <p:handoutMasterIdLst>
    <p:handoutMasterId r:id="rId6"/>
  </p:handoutMasterIdLst>
  <p:sldIdLst>
    <p:sldId id="362" r:id="rId4"/>
  </p:sldIdLst>
  <p:sldSz cx="9144000" cy="5143500" type="screen16x9"/>
  <p:notesSz cx="6797675" cy="9926638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90" userDrawn="1">
          <p15:clr>
            <a:srgbClr val="A4A3A4"/>
          </p15:clr>
        </p15:guide>
        <p15:guide id="2" pos="284" userDrawn="1">
          <p15:clr>
            <a:srgbClr val="A4A3A4"/>
          </p15:clr>
        </p15:guide>
        <p15:guide id="3" pos="2824" userDrawn="1">
          <p15:clr>
            <a:srgbClr val="A4A3A4"/>
          </p15:clr>
        </p15:guide>
        <p15:guide id="4" pos="2936" userDrawn="1">
          <p15:clr>
            <a:srgbClr val="A4A3A4"/>
          </p15:clr>
        </p15:guide>
        <p15:guide id="6" orient="horz" pos="781" userDrawn="1">
          <p15:clr>
            <a:srgbClr val="A4A3A4"/>
          </p15:clr>
        </p15:guide>
        <p15:guide id="7" pos="547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5" autoAdjust="0"/>
    <p:restoredTop sz="95984" autoAdjust="0"/>
  </p:normalViewPr>
  <p:slideViewPr>
    <p:cSldViewPr snapToGrid="0" showGuides="1">
      <p:cViewPr varScale="1">
        <p:scale>
          <a:sx n="157" d="100"/>
          <a:sy n="157" d="100"/>
        </p:scale>
        <p:origin x="156" y="216"/>
      </p:cViewPr>
      <p:guideLst>
        <p:guide orient="horz" pos="2890"/>
        <p:guide pos="284"/>
        <p:guide pos="2824"/>
        <p:guide pos="2936"/>
        <p:guide orient="horz" pos="781"/>
        <p:guide pos="547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40"/>
    </p:cViewPr>
  </p:sorterViewPr>
  <p:notesViewPr>
    <p:cSldViewPr snapToGrid="0" showGuides="1">
      <p:cViewPr>
        <p:scale>
          <a:sx n="75" d="100"/>
          <a:sy n="75" d="100"/>
        </p:scale>
        <p:origin x="2964" y="33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Master" Target="slideMasters/slideMaster1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BDBFC116-0A75-42B5-A04E-F8BD0D64984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9B0CF9B-D954-42B7-B17E-338E3FF69C6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D7338C-558B-4699-B3FB-1110B8EA4586}" type="datetimeFigureOut">
              <a:rPr lang="de-DE" smtClean="0"/>
              <a:t>24.05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54D72FA-85CC-4596-9FF4-9ED4A04B2BB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088BB88-0E94-40AD-91D8-222A3B335C8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7DA3FD-D6B2-4777-A342-E12BB081EB6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86936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12F3CF-33A8-431F-AD91-991887D9CE92}" type="datetimeFigureOut">
              <a:rPr lang="en-US" smtClean="0"/>
              <a:t>5/24/20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69925" y="923925"/>
            <a:ext cx="5457825" cy="3070225"/>
          </a:xfrm>
          <a:prstGeom prst="rect">
            <a:avLst/>
          </a:prstGeom>
          <a:noFill/>
          <a:ln w="12700">
            <a:solidFill>
              <a:schemeClr val="accent3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81625" y="4297189"/>
            <a:ext cx="6034426" cy="480658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4F251E-0D5E-4CFD-ACCC-9623B92A1BF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776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7800" indent="-177800" algn="l" defTabSz="685800" rtl="0" eaLnBrk="1" latinLnBrk="0" hangingPunct="1">
      <a:buClr>
        <a:schemeClr val="accent2"/>
      </a:buClr>
      <a:buFont typeface="Wingdings" panose="05000000000000000000" pitchFamily="2" charset="2"/>
      <a:buChar char="§"/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61950" indent="-18415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97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75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95350" indent="-177800" algn="l" defTabSz="685800" rtl="0" eaLnBrk="1" latinLnBrk="0" hangingPunct="1">
      <a:buClr>
        <a:schemeClr val="accent2"/>
      </a:buClr>
      <a:buFont typeface="Arial" panose="020B0604020202020204" pitchFamily="34" charset="0"/>
      <a:buChar char="‒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3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1178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1" name="Bildplatzhalter 20">
            <a:extLst>
              <a:ext uri="{FF2B5EF4-FFF2-40B4-BE49-F238E27FC236}">
                <a16:creationId xmlns:a16="http://schemas.microsoft.com/office/drawing/2014/main" id="{72C9396F-0E27-4874-B398-5F2BB788CF1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0"/>
            <a:ext cx="9144000" cy="3470400"/>
          </a:xfrm>
          <a:solidFill>
            <a:schemeClr val="bg2"/>
          </a:solidFill>
          <a:ln>
            <a:noFill/>
          </a:ln>
        </p:spPr>
        <p:txBody>
          <a:bodyPr lIns="108000" tIns="72000" rIns="108000" bIns="72000"/>
          <a:lstStyle>
            <a:lvl1pPr>
              <a:spcBef>
                <a:spcPts val="0"/>
              </a:spcBef>
              <a:defRPr/>
            </a:lvl1pPr>
          </a:lstStyle>
          <a:p>
            <a:r>
              <a:rPr lang="de-DE" dirty="0"/>
              <a:t>Durch Klicken auf das Symbol ein Bild einfüg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5A3ACC9-18FF-40A5-890D-49F66796A792}"/>
              </a:ext>
            </a:extLst>
          </p:cNvPr>
          <p:cNvSpPr/>
          <p:nvPr userDrawn="1"/>
        </p:nvSpPr>
        <p:spPr bwMode="gray">
          <a:xfrm>
            <a:off x="4260800" y="3469749"/>
            <a:ext cx="4883200" cy="5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260800" y="2202549"/>
            <a:ext cx="4881600" cy="1267200"/>
          </a:xfrm>
          <a:solidFill>
            <a:schemeClr val="accent1"/>
          </a:solidFill>
        </p:spPr>
        <p:txBody>
          <a:bodyPr lIns="360000" rIns="360000" anchor="ctr"/>
          <a:lstStyle>
            <a:lvl1pPr algn="l">
              <a:spcBef>
                <a:spcPts val="0"/>
              </a:spcBef>
              <a:defRPr sz="280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</a:t>
            </a:r>
            <a:br>
              <a:rPr lang="de-DE" dirty="0"/>
            </a:br>
            <a:r>
              <a:rPr lang="de-DE" dirty="0"/>
              <a:t>in max. zwei Zeilen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7FC21D22-0E37-45E9-8134-9E4287B65F50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449263" y="4227933"/>
            <a:ext cx="1115747" cy="558000"/>
            <a:chOff x="7856284" y="172641"/>
            <a:chExt cx="836866" cy="418528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833149A5-FE09-4E14-9C73-EE1D3C58AAE1}"/>
                </a:ext>
              </a:extLst>
            </p:cNvPr>
            <p:cNvSpPr/>
            <p:nvPr/>
          </p:nvSpPr>
          <p:spPr bwMode="gray">
            <a:xfrm>
              <a:off x="7856284" y="172641"/>
              <a:ext cx="453901" cy="418528"/>
            </a:xfrm>
            <a:custGeom>
              <a:avLst/>
              <a:gdLst>
                <a:gd name="connsiteX0" fmla="*/ 418433 w 453901"/>
                <a:gd name="connsiteY0" fmla="*/ 0 h 418528"/>
                <a:gd name="connsiteX1" fmla="*/ 0 w 453901"/>
                <a:gd name="connsiteY1" fmla="*/ 0 h 418528"/>
                <a:gd name="connsiteX2" fmla="*/ 0 w 453901"/>
                <a:gd name="connsiteY2" fmla="*/ 418529 h 418528"/>
                <a:gd name="connsiteX3" fmla="*/ 418433 w 453901"/>
                <a:gd name="connsiteY3" fmla="*/ 418529 h 418528"/>
                <a:gd name="connsiteX4" fmla="*/ 418433 w 453901"/>
                <a:gd name="connsiteY4" fmla="*/ 0 h 418528"/>
                <a:gd name="connsiteX5" fmla="*/ 418433 w 453901"/>
                <a:gd name="connsiteY5" fmla="*/ 0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3901" h="418528">
                  <a:moveTo>
                    <a:pt x="418433" y="0"/>
                  </a:moveTo>
                  <a:lnTo>
                    <a:pt x="0" y="0"/>
                  </a:lnTo>
                  <a:lnTo>
                    <a:pt x="0" y="418529"/>
                  </a:lnTo>
                  <a:lnTo>
                    <a:pt x="418433" y="418529"/>
                  </a:lnTo>
                  <a:cubicBezTo>
                    <a:pt x="465677" y="283750"/>
                    <a:pt x="465773" y="134874"/>
                    <a:pt x="418433" y="0"/>
                  </a:cubicBezTo>
                  <a:lnTo>
                    <a:pt x="418433" y="0"/>
                  </a:lnTo>
                  <a:close/>
                </a:path>
              </a:pathLst>
            </a:custGeom>
            <a:solidFill>
              <a:srgbClr val="CAD2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E18722EB-2501-46CD-9C86-A3A6327A0F14}"/>
                </a:ext>
              </a:extLst>
            </p:cNvPr>
            <p:cNvSpPr/>
            <p:nvPr/>
          </p:nvSpPr>
          <p:spPr bwMode="gray">
            <a:xfrm>
              <a:off x="8274717" y="172641"/>
              <a:ext cx="418433" cy="418528"/>
            </a:xfrm>
            <a:custGeom>
              <a:avLst/>
              <a:gdLst>
                <a:gd name="connsiteX0" fmla="*/ 418433 w 418433"/>
                <a:gd name="connsiteY0" fmla="*/ 418529 h 418528"/>
                <a:gd name="connsiteX1" fmla="*/ 0 w 418433"/>
                <a:gd name="connsiteY1" fmla="*/ 418529 h 418528"/>
                <a:gd name="connsiteX2" fmla="*/ 0 w 418433"/>
                <a:gd name="connsiteY2" fmla="*/ 0 h 418528"/>
                <a:gd name="connsiteX3" fmla="*/ 418433 w 418433"/>
                <a:gd name="connsiteY3" fmla="*/ 0 h 418528"/>
                <a:gd name="connsiteX4" fmla="*/ 418433 w 418433"/>
                <a:gd name="connsiteY4" fmla="*/ 418529 h 418528"/>
                <a:gd name="connsiteX5" fmla="*/ 418433 w 418433"/>
                <a:gd name="connsiteY5" fmla="*/ 418529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8433" h="418528">
                  <a:moveTo>
                    <a:pt x="418433" y="418529"/>
                  </a:moveTo>
                  <a:lnTo>
                    <a:pt x="0" y="418529"/>
                  </a:lnTo>
                  <a:cubicBezTo>
                    <a:pt x="47244" y="283750"/>
                    <a:pt x="47339" y="134969"/>
                    <a:pt x="0" y="0"/>
                  </a:cubicBezTo>
                  <a:lnTo>
                    <a:pt x="418433" y="0"/>
                  </a:lnTo>
                  <a:lnTo>
                    <a:pt x="418433" y="418529"/>
                  </a:lnTo>
                  <a:lnTo>
                    <a:pt x="418433" y="418529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F2396AC9-4377-4E26-BFEB-13C8DFCAD068}"/>
                </a:ext>
              </a:extLst>
            </p:cNvPr>
            <p:cNvSpPr/>
            <p:nvPr/>
          </p:nvSpPr>
          <p:spPr bwMode="gray">
            <a:xfrm>
              <a:off x="8540655" y="242549"/>
              <a:ext cx="117896" cy="139641"/>
            </a:xfrm>
            <a:custGeom>
              <a:avLst/>
              <a:gdLst>
                <a:gd name="connsiteX0" fmla="*/ 109919 w 117896"/>
                <a:gd name="connsiteY0" fmla="*/ 6863 h 139641"/>
                <a:gd name="connsiteX1" fmla="*/ 109156 w 117896"/>
                <a:gd name="connsiteY1" fmla="*/ 5 h 139641"/>
                <a:gd name="connsiteX2" fmla="*/ 90488 w 117896"/>
                <a:gd name="connsiteY2" fmla="*/ 5 h 139641"/>
                <a:gd name="connsiteX3" fmla="*/ 78677 w 117896"/>
                <a:gd name="connsiteY3" fmla="*/ 5720 h 139641"/>
                <a:gd name="connsiteX4" fmla="*/ 26479 w 117896"/>
                <a:gd name="connsiteY4" fmla="*/ 62298 h 139641"/>
                <a:gd name="connsiteX5" fmla="*/ 26384 w 117896"/>
                <a:gd name="connsiteY5" fmla="*/ 6958 h 139641"/>
                <a:gd name="connsiteX6" fmla="*/ 19526 w 117896"/>
                <a:gd name="connsiteY6" fmla="*/ 100 h 139641"/>
                <a:gd name="connsiteX7" fmla="*/ 6858 w 117896"/>
                <a:gd name="connsiteY7" fmla="*/ 100 h 139641"/>
                <a:gd name="connsiteX8" fmla="*/ 0 w 117896"/>
                <a:gd name="connsiteY8" fmla="*/ 6958 h 139641"/>
                <a:gd name="connsiteX9" fmla="*/ 0 w 117896"/>
                <a:gd name="connsiteY9" fmla="*/ 132783 h 139641"/>
                <a:gd name="connsiteX10" fmla="*/ 6858 w 117896"/>
                <a:gd name="connsiteY10" fmla="*/ 139641 h 139641"/>
                <a:gd name="connsiteX11" fmla="*/ 19622 w 117896"/>
                <a:gd name="connsiteY11" fmla="*/ 139641 h 139641"/>
                <a:gd name="connsiteX12" fmla="*/ 26479 w 117896"/>
                <a:gd name="connsiteY12" fmla="*/ 132783 h 139641"/>
                <a:gd name="connsiteX13" fmla="*/ 26479 w 117896"/>
                <a:gd name="connsiteY13" fmla="*/ 99922 h 139641"/>
                <a:gd name="connsiteX14" fmla="*/ 49625 w 117896"/>
                <a:gd name="connsiteY14" fmla="*/ 74871 h 139641"/>
                <a:gd name="connsiteX15" fmla="*/ 85439 w 117896"/>
                <a:gd name="connsiteY15" fmla="*/ 132783 h 139641"/>
                <a:gd name="connsiteX16" fmla="*/ 94869 w 117896"/>
                <a:gd name="connsiteY16" fmla="*/ 139641 h 139641"/>
                <a:gd name="connsiteX17" fmla="*/ 114014 w 117896"/>
                <a:gd name="connsiteY17" fmla="*/ 139641 h 139641"/>
                <a:gd name="connsiteX18" fmla="*/ 116681 w 117896"/>
                <a:gd name="connsiteY18" fmla="*/ 132783 h 139641"/>
                <a:gd name="connsiteX19" fmla="*/ 67247 w 117896"/>
                <a:gd name="connsiteY19" fmla="*/ 55154 h 139641"/>
                <a:gd name="connsiteX20" fmla="*/ 109919 w 117896"/>
                <a:gd name="connsiteY20" fmla="*/ 6863 h 139641"/>
                <a:gd name="connsiteX21" fmla="*/ 109919 w 117896"/>
                <a:gd name="connsiteY21" fmla="*/ 6863 h 13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7896" h="139641">
                  <a:moveTo>
                    <a:pt x="109919" y="6863"/>
                  </a:moveTo>
                  <a:cubicBezTo>
                    <a:pt x="113348" y="3053"/>
                    <a:pt x="112967" y="5"/>
                    <a:pt x="109156" y="5"/>
                  </a:cubicBezTo>
                  <a:lnTo>
                    <a:pt x="90488" y="5"/>
                  </a:lnTo>
                  <a:cubicBezTo>
                    <a:pt x="86677" y="5"/>
                    <a:pt x="84773" y="-376"/>
                    <a:pt x="78677" y="5720"/>
                  </a:cubicBezTo>
                  <a:lnTo>
                    <a:pt x="26479" y="62298"/>
                  </a:lnTo>
                  <a:lnTo>
                    <a:pt x="26384" y="6958"/>
                  </a:lnTo>
                  <a:cubicBezTo>
                    <a:pt x="26384" y="3148"/>
                    <a:pt x="23336" y="100"/>
                    <a:pt x="19526" y="100"/>
                  </a:cubicBezTo>
                  <a:lnTo>
                    <a:pt x="6858" y="100"/>
                  </a:lnTo>
                  <a:cubicBezTo>
                    <a:pt x="3048" y="100"/>
                    <a:pt x="0" y="3148"/>
                    <a:pt x="0" y="6958"/>
                  </a:cubicBezTo>
                  <a:lnTo>
                    <a:pt x="0" y="132783"/>
                  </a:lnTo>
                  <a:cubicBezTo>
                    <a:pt x="0" y="136593"/>
                    <a:pt x="3048" y="139641"/>
                    <a:pt x="6858" y="139641"/>
                  </a:cubicBezTo>
                  <a:lnTo>
                    <a:pt x="19622" y="139641"/>
                  </a:lnTo>
                  <a:cubicBezTo>
                    <a:pt x="23431" y="139641"/>
                    <a:pt x="26479" y="136593"/>
                    <a:pt x="26479" y="132783"/>
                  </a:cubicBezTo>
                  <a:lnTo>
                    <a:pt x="26479" y="99922"/>
                  </a:lnTo>
                  <a:lnTo>
                    <a:pt x="49625" y="74871"/>
                  </a:lnTo>
                  <a:lnTo>
                    <a:pt x="85439" y="132783"/>
                  </a:lnTo>
                  <a:cubicBezTo>
                    <a:pt x="87725" y="136593"/>
                    <a:pt x="91059" y="139641"/>
                    <a:pt x="94869" y="139641"/>
                  </a:cubicBezTo>
                  <a:lnTo>
                    <a:pt x="114014" y="139641"/>
                  </a:lnTo>
                  <a:cubicBezTo>
                    <a:pt x="117824" y="139641"/>
                    <a:pt x="119063" y="136593"/>
                    <a:pt x="116681" y="132783"/>
                  </a:cubicBezTo>
                  <a:lnTo>
                    <a:pt x="67247" y="55154"/>
                  </a:lnTo>
                  <a:lnTo>
                    <a:pt x="109919" y="6863"/>
                  </a:lnTo>
                  <a:lnTo>
                    <a:pt x="109919" y="68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72488FE8-DA2A-4E3B-A01A-91BF60872EB7}"/>
                </a:ext>
              </a:extLst>
            </p:cNvPr>
            <p:cNvSpPr/>
            <p:nvPr/>
          </p:nvSpPr>
          <p:spPr bwMode="gray">
            <a:xfrm>
              <a:off x="8344440" y="242459"/>
              <a:ext cx="27717" cy="139541"/>
            </a:xfrm>
            <a:custGeom>
              <a:avLst/>
              <a:gdLst>
                <a:gd name="connsiteX0" fmla="*/ 0 w 27717"/>
                <a:gd name="connsiteY0" fmla="*/ 132683 h 139541"/>
                <a:gd name="connsiteX1" fmla="*/ 6858 w 27717"/>
                <a:gd name="connsiteY1" fmla="*/ 139541 h 139541"/>
                <a:gd name="connsiteX2" fmla="*/ 20765 w 27717"/>
                <a:gd name="connsiteY2" fmla="*/ 139541 h 139541"/>
                <a:gd name="connsiteX3" fmla="*/ 27623 w 27717"/>
                <a:gd name="connsiteY3" fmla="*/ 132683 h 139541"/>
                <a:gd name="connsiteX4" fmla="*/ 27718 w 27717"/>
                <a:gd name="connsiteY4" fmla="*/ 6858 h 139541"/>
                <a:gd name="connsiteX5" fmla="*/ 20860 w 27717"/>
                <a:gd name="connsiteY5" fmla="*/ 0 h 139541"/>
                <a:gd name="connsiteX6" fmla="*/ 6953 w 27717"/>
                <a:gd name="connsiteY6" fmla="*/ 0 h 139541"/>
                <a:gd name="connsiteX7" fmla="*/ 95 w 27717"/>
                <a:gd name="connsiteY7" fmla="*/ 6858 h 139541"/>
                <a:gd name="connsiteX8" fmla="*/ 0 w 27717"/>
                <a:gd name="connsiteY8" fmla="*/ 132683 h 139541"/>
                <a:gd name="connsiteX9" fmla="*/ 0 w 27717"/>
                <a:gd name="connsiteY9" fmla="*/ 132683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717" h="139541">
                  <a:moveTo>
                    <a:pt x="0" y="132683"/>
                  </a:moveTo>
                  <a:cubicBezTo>
                    <a:pt x="0" y="136493"/>
                    <a:pt x="3048" y="139541"/>
                    <a:pt x="6858" y="139541"/>
                  </a:cubicBezTo>
                  <a:lnTo>
                    <a:pt x="20765" y="139541"/>
                  </a:lnTo>
                  <a:cubicBezTo>
                    <a:pt x="24575" y="139541"/>
                    <a:pt x="27623" y="136493"/>
                    <a:pt x="27623" y="132683"/>
                  </a:cubicBezTo>
                  <a:lnTo>
                    <a:pt x="27718" y="6858"/>
                  </a:lnTo>
                  <a:cubicBezTo>
                    <a:pt x="27718" y="3048"/>
                    <a:pt x="24670" y="0"/>
                    <a:pt x="20860" y="0"/>
                  </a:cubicBezTo>
                  <a:lnTo>
                    <a:pt x="6953" y="0"/>
                  </a:lnTo>
                  <a:cubicBezTo>
                    <a:pt x="3143" y="0"/>
                    <a:pt x="95" y="3048"/>
                    <a:pt x="95" y="6858"/>
                  </a:cubicBezTo>
                  <a:lnTo>
                    <a:pt x="0" y="132683"/>
                  </a:lnTo>
                  <a:lnTo>
                    <a:pt x="0" y="13268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9B7F0387-06FF-4210-A1D4-5535313D1E35}"/>
                </a:ext>
              </a:extLst>
            </p:cNvPr>
            <p:cNvSpPr/>
            <p:nvPr/>
          </p:nvSpPr>
          <p:spPr bwMode="gray">
            <a:xfrm>
              <a:off x="8401114" y="242554"/>
              <a:ext cx="110490" cy="139541"/>
            </a:xfrm>
            <a:custGeom>
              <a:avLst/>
              <a:gdLst>
                <a:gd name="connsiteX0" fmla="*/ 82963 w 110490"/>
                <a:gd name="connsiteY0" fmla="*/ 6858 h 139541"/>
                <a:gd name="connsiteX1" fmla="*/ 89821 w 110490"/>
                <a:gd name="connsiteY1" fmla="*/ 0 h 139541"/>
                <a:gd name="connsiteX2" fmla="*/ 103632 w 110490"/>
                <a:gd name="connsiteY2" fmla="*/ 0 h 139541"/>
                <a:gd name="connsiteX3" fmla="*/ 110490 w 110490"/>
                <a:gd name="connsiteY3" fmla="*/ 6858 h 139541"/>
                <a:gd name="connsiteX4" fmla="*/ 110490 w 110490"/>
                <a:gd name="connsiteY4" fmla="*/ 132683 h 139541"/>
                <a:gd name="connsiteX5" fmla="*/ 103632 w 110490"/>
                <a:gd name="connsiteY5" fmla="*/ 139541 h 139541"/>
                <a:gd name="connsiteX6" fmla="*/ 89916 w 110490"/>
                <a:gd name="connsiteY6" fmla="*/ 139541 h 139541"/>
                <a:gd name="connsiteX7" fmla="*/ 83058 w 110490"/>
                <a:gd name="connsiteY7" fmla="*/ 132683 h 139541"/>
                <a:gd name="connsiteX8" fmla="*/ 82963 w 110490"/>
                <a:gd name="connsiteY8" fmla="*/ 80867 h 139541"/>
                <a:gd name="connsiteX9" fmla="*/ 27527 w 110490"/>
                <a:gd name="connsiteY9" fmla="*/ 80867 h 139541"/>
                <a:gd name="connsiteX10" fmla="*/ 27527 w 110490"/>
                <a:gd name="connsiteY10" fmla="*/ 132683 h 139541"/>
                <a:gd name="connsiteX11" fmla="*/ 20669 w 110490"/>
                <a:gd name="connsiteY11" fmla="*/ 139541 h 139541"/>
                <a:gd name="connsiteX12" fmla="*/ 6858 w 110490"/>
                <a:gd name="connsiteY12" fmla="*/ 139541 h 139541"/>
                <a:gd name="connsiteX13" fmla="*/ 0 w 110490"/>
                <a:gd name="connsiteY13" fmla="*/ 132683 h 139541"/>
                <a:gd name="connsiteX14" fmla="*/ 0 w 110490"/>
                <a:gd name="connsiteY14" fmla="*/ 6858 h 139541"/>
                <a:gd name="connsiteX15" fmla="*/ 6858 w 110490"/>
                <a:gd name="connsiteY15" fmla="*/ 0 h 139541"/>
                <a:gd name="connsiteX16" fmla="*/ 20669 w 110490"/>
                <a:gd name="connsiteY16" fmla="*/ 0 h 139541"/>
                <a:gd name="connsiteX17" fmla="*/ 27527 w 110490"/>
                <a:gd name="connsiteY17" fmla="*/ 6858 h 139541"/>
                <a:gd name="connsiteX18" fmla="*/ 27432 w 110490"/>
                <a:gd name="connsiteY18" fmla="*/ 57436 h 139541"/>
                <a:gd name="connsiteX19" fmla="*/ 82868 w 110490"/>
                <a:gd name="connsiteY19" fmla="*/ 57436 h 139541"/>
                <a:gd name="connsiteX20" fmla="*/ 82963 w 110490"/>
                <a:gd name="connsiteY20" fmla="*/ 6858 h 139541"/>
                <a:gd name="connsiteX21" fmla="*/ 82963 w 110490"/>
                <a:gd name="connsiteY21" fmla="*/ 6858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0490" h="139541">
                  <a:moveTo>
                    <a:pt x="82963" y="6858"/>
                  </a:moveTo>
                  <a:cubicBezTo>
                    <a:pt x="82963" y="3048"/>
                    <a:pt x="86011" y="0"/>
                    <a:pt x="89821" y="0"/>
                  </a:cubicBezTo>
                  <a:lnTo>
                    <a:pt x="103632" y="0"/>
                  </a:lnTo>
                  <a:cubicBezTo>
                    <a:pt x="107442" y="0"/>
                    <a:pt x="110490" y="3048"/>
                    <a:pt x="110490" y="6858"/>
                  </a:cubicBezTo>
                  <a:lnTo>
                    <a:pt x="110490" y="132683"/>
                  </a:lnTo>
                  <a:cubicBezTo>
                    <a:pt x="110490" y="136493"/>
                    <a:pt x="107442" y="139541"/>
                    <a:pt x="103632" y="139541"/>
                  </a:cubicBezTo>
                  <a:lnTo>
                    <a:pt x="89916" y="139541"/>
                  </a:lnTo>
                  <a:cubicBezTo>
                    <a:pt x="86106" y="139541"/>
                    <a:pt x="83058" y="136493"/>
                    <a:pt x="83058" y="132683"/>
                  </a:cubicBezTo>
                  <a:lnTo>
                    <a:pt x="82963" y="80867"/>
                  </a:lnTo>
                  <a:lnTo>
                    <a:pt x="27527" y="80867"/>
                  </a:lnTo>
                  <a:lnTo>
                    <a:pt x="27527" y="132683"/>
                  </a:lnTo>
                  <a:cubicBezTo>
                    <a:pt x="27527" y="136493"/>
                    <a:pt x="24479" y="139541"/>
                    <a:pt x="20669" y="139541"/>
                  </a:cubicBezTo>
                  <a:lnTo>
                    <a:pt x="6858" y="139541"/>
                  </a:lnTo>
                  <a:cubicBezTo>
                    <a:pt x="3048" y="139541"/>
                    <a:pt x="0" y="136493"/>
                    <a:pt x="0" y="132683"/>
                  </a:cubicBezTo>
                  <a:lnTo>
                    <a:pt x="0" y="6858"/>
                  </a:lnTo>
                  <a:cubicBezTo>
                    <a:pt x="0" y="3048"/>
                    <a:pt x="3048" y="0"/>
                    <a:pt x="6858" y="0"/>
                  </a:cubicBezTo>
                  <a:lnTo>
                    <a:pt x="20669" y="0"/>
                  </a:lnTo>
                  <a:cubicBezTo>
                    <a:pt x="24479" y="0"/>
                    <a:pt x="27527" y="3048"/>
                    <a:pt x="27527" y="6858"/>
                  </a:cubicBezTo>
                  <a:lnTo>
                    <a:pt x="27432" y="57436"/>
                  </a:lnTo>
                  <a:lnTo>
                    <a:pt x="82868" y="57436"/>
                  </a:lnTo>
                  <a:lnTo>
                    <a:pt x="82963" y="6858"/>
                  </a:lnTo>
                  <a:lnTo>
                    <a:pt x="82963" y="68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D1858C6F-E26A-4B41-AA3B-59AB1C4D635C}"/>
                </a:ext>
              </a:extLst>
            </p:cNvPr>
            <p:cNvSpPr/>
            <p:nvPr/>
          </p:nvSpPr>
          <p:spPr bwMode="gray">
            <a:xfrm>
              <a:off x="7974203" y="242840"/>
              <a:ext cx="91059" cy="278511"/>
            </a:xfrm>
            <a:custGeom>
              <a:avLst/>
              <a:gdLst>
                <a:gd name="connsiteX0" fmla="*/ 91059 w 91059"/>
                <a:gd name="connsiteY0" fmla="*/ 0 h 278511"/>
                <a:gd name="connsiteX1" fmla="*/ 0 w 91059"/>
                <a:gd name="connsiteY1" fmla="*/ 139256 h 278511"/>
                <a:gd name="connsiteX2" fmla="*/ 91059 w 91059"/>
                <a:gd name="connsiteY2" fmla="*/ 278511 h 278511"/>
                <a:gd name="connsiteX3" fmla="*/ 91059 w 91059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9" h="278511">
                  <a:moveTo>
                    <a:pt x="91059" y="0"/>
                  </a:moveTo>
                  <a:lnTo>
                    <a:pt x="0" y="139256"/>
                  </a:lnTo>
                  <a:lnTo>
                    <a:pt x="91059" y="278511"/>
                  </a:lnTo>
                  <a:lnTo>
                    <a:pt x="91059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6B054158-808B-46DB-9EB8-A2C3581F50BE}"/>
                </a:ext>
              </a:extLst>
            </p:cNvPr>
            <p:cNvSpPr/>
            <p:nvPr/>
          </p:nvSpPr>
          <p:spPr bwMode="gray">
            <a:xfrm>
              <a:off x="8065262" y="242840"/>
              <a:ext cx="91058" cy="278511"/>
            </a:xfrm>
            <a:custGeom>
              <a:avLst/>
              <a:gdLst>
                <a:gd name="connsiteX0" fmla="*/ 0 w 91058"/>
                <a:gd name="connsiteY0" fmla="*/ 0 h 278511"/>
                <a:gd name="connsiteX1" fmla="*/ 91059 w 91058"/>
                <a:gd name="connsiteY1" fmla="*/ 139256 h 278511"/>
                <a:gd name="connsiteX2" fmla="*/ 0 w 91058"/>
                <a:gd name="connsiteY2" fmla="*/ 278511 h 278511"/>
                <a:gd name="connsiteX3" fmla="*/ 0 w 91058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8" h="278511">
                  <a:moveTo>
                    <a:pt x="0" y="0"/>
                  </a:moveTo>
                  <a:lnTo>
                    <a:pt x="91059" y="139256"/>
                  </a:lnTo>
                  <a:lnTo>
                    <a:pt x="0" y="2785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" name="Gleichschenkliges Dreieck 18">
            <a:extLst>
              <a:ext uri="{FF2B5EF4-FFF2-40B4-BE49-F238E27FC236}">
                <a16:creationId xmlns:a16="http://schemas.microsoft.com/office/drawing/2014/main" id="{0DDFBC0F-5C2D-4296-9BD2-08212B14804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646443" y="3469400"/>
            <a:ext cx="215995" cy="108000"/>
          </a:xfrm>
          <a:prstGeom prst="triangle">
            <a:avLst/>
          </a:prstGeom>
          <a:solidFill>
            <a:srgbClr val="0033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003366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60800" y="3470098"/>
            <a:ext cx="4881600" cy="576000"/>
          </a:xfrm>
          <a:noFill/>
          <a:ln>
            <a:noFill/>
          </a:ln>
        </p:spPr>
        <p:txBody>
          <a:bodyPr lIns="360000" rIns="360000" anchor="ctr"/>
          <a:lstStyle>
            <a:lvl1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Untertitel in max. eine Zeile</a:t>
            </a: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5BB91870-8B6B-44F4-8C93-5C0E780D17F5}"/>
              </a:ext>
            </a:extLst>
          </p:cNvPr>
          <p:cNvGrpSpPr/>
          <p:nvPr userDrawn="1"/>
        </p:nvGrpSpPr>
        <p:grpSpPr>
          <a:xfrm>
            <a:off x="-275432" y="-257175"/>
            <a:ext cx="9694864" cy="5657850"/>
            <a:chOff x="-275432" y="-257175"/>
            <a:chExt cx="9694864" cy="5657850"/>
          </a:xfrm>
        </p:grpSpPr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70EFADB4-016E-4B33-8790-11A56A804D9E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D11445A3-A2A6-465D-8B34-E48D48B6EACE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8B014DEC-98C7-4D2E-B7C6-A47F68BDD784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7AB73926-F427-4847-9278-464B8C8BB1DB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700DAE0A-F534-47E4-A20A-6BD935B71D46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3C192E67-7316-4136-966F-586B6DA2DB9F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B277B64-1C27-4058-BB9D-4B3D2B398C05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250575BB-94E5-45C5-BA35-F45DCF30DB62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9D8CD6AC-C476-4082-8F25-D99CE3E15423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1F9DF423-1598-4D30-BB68-13B4B661B82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0DEFE313-F36A-483C-A7D0-4313F247F2E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BFAB5E2B-8E39-44E7-B19A-33ED8081761B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1" name="Gerader Verbinder 30">
                <a:extLst>
                  <a:ext uri="{FF2B5EF4-FFF2-40B4-BE49-F238E27FC236}">
                    <a16:creationId xmlns:a16="http://schemas.microsoft.com/office/drawing/2014/main" id="{172AFAAB-2EAD-4C71-B14D-F2470FC173C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F4665723-F552-42C4-B9B4-165AAA3C8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70428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Spalten 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4626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660900" y="1239838"/>
            <a:ext cx="4032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  <a:p>
            <a:pPr lvl="6"/>
            <a:r>
              <a:rPr lang="de-DE" dirty="0"/>
              <a:t>Sechste Ebene</a:t>
            </a:r>
          </a:p>
          <a:p>
            <a:pPr lvl="7"/>
            <a:r>
              <a:rPr lang="de-DE" dirty="0"/>
              <a:t>Sieb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F3F1C607-D25A-49A4-9B79-3447DDCF5A0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49263" y="1239838"/>
            <a:ext cx="403225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spcBef>
                <a:spcPts val="0"/>
              </a:spcBef>
              <a:defRPr/>
            </a:lvl1pPr>
          </a:lstStyle>
          <a:p>
            <a:r>
              <a:rPr lang="de-DE" dirty="0"/>
              <a:t>Durch Klicken auf das Symbol </a:t>
            </a:r>
            <a:br>
              <a:rPr lang="de-DE" dirty="0"/>
            </a:br>
            <a:r>
              <a:rPr lang="de-DE" dirty="0"/>
              <a:t>ein 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239802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7273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F3F1C607-D25A-49A4-9B79-3447DDCF5A0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49262" y="1239838"/>
            <a:ext cx="8243887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spcBef>
                <a:spcPts val="0"/>
              </a:spcBef>
              <a:defRPr/>
            </a:lvl1pPr>
          </a:lstStyle>
          <a:p>
            <a:r>
              <a:rPr lang="de-DE" dirty="0"/>
              <a:t>Durch Klicken auf das Symbol </a:t>
            </a:r>
            <a:br>
              <a:rPr lang="de-DE" dirty="0"/>
            </a:br>
            <a:r>
              <a:rPr lang="de-DE" dirty="0"/>
              <a:t>ein 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263901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rei Spalten Text – 1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9460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6" y="1239838"/>
            <a:ext cx="2628000" cy="3348037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8D9F2-B7AA-491B-A2A4-3BE47F431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57632" y="1239838"/>
            <a:ext cx="2628000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066000" y="1239838"/>
            <a:ext cx="2628000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8674125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rei Spalten Text – 2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3778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6" y="1239838"/>
            <a:ext cx="2628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8D9F2-B7AA-491B-A2A4-3BE47F431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57632" y="1239838"/>
            <a:ext cx="2628000" cy="3348000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066000" y="1239838"/>
            <a:ext cx="2628000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2335927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rei Spalten Text – 3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263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6" y="1239838"/>
            <a:ext cx="2628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8D9F2-B7AA-491B-A2A4-3BE47F431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57632" y="1239838"/>
            <a:ext cx="2628000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066000" y="1239838"/>
            <a:ext cx="2628000" cy="3348000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2815338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er Spalten Text – 1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8992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5" y="1239838"/>
            <a:ext cx="1926000" cy="3348037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 marL="540000" indent="0">
              <a:buNone/>
              <a:defRPr/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A97833A-1F49-42D2-AB3B-301E9766D3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55632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>
            <a:lvl6pPr marL="540000" indent="0">
              <a:buNone/>
              <a:defRPr/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8D9F2-B7AA-491B-A2A4-3BE47F431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62000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768368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5429493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er Spalten Text – 2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4892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5" y="1239838"/>
            <a:ext cx="1926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  <a:lvl6pPr marL="540000" indent="0">
              <a:buNone/>
              <a:defRPr/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A97833A-1F49-42D2-AB3B-301E9766D3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55632" y="1239838"/>
            <a:ext cx="1926000" cy="3348000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 marL="540000" indent="0">
              <a:buNone/>
              <a:defRPr/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8D9F2-B7AA-491B-A2A4-3BE47F431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62000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768368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2724232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er Spalten Text – 3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8588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5" y="1239838"/>
            <a:ext cx="1926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  <a:lvl6pPr marL="540000" indent="0">
              <a:buNone/>
              <a:defRPr/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A97833A-1F49-42D2-AB3B-301E9766D3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55632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>
            <a:lvl6pPr marL="540000" indent="0">
              <a:buNone/>
              <a:defRPr/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8D9F2-B7AA-491B-A2A4-3BE47F431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62000" y="1239838"/>
            <a:ext cx="1926000" cy="3348000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768368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>
            <a:lvl5pPr>
              <a:defRPr/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34644626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er Spalten Text – 4. Spalte S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028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5" y="1239838"/>
            <a:ext cx="1926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  <a:lvl6pPr marL="540000" indent="0">
              <a:buNone/>
              <a:defRPr/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A97833A-1F49-42D2-AB3B-301E9766D3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55632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>
            <a:lvl6pPr marL="540000" indent="0">
              <a:buNone/>
              <a:defRPr/>
            </a:lvl6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8D9F2-B7AA-491B-A2A4-3BE47F431F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62000" y="1239838"/>
            <a:ext cx="1926000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768368" y="1239838"/>
            <a:ext cx="1926000" cy="3348000"/>
          </a:xfrm>
          <a:solidFill>
            <a:schemeClr val="accent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21845830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3399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C6121F74-D989-4289-9EA0-478F6EA57E2F}"/>
              </a:ext>
            </a:extLst>
          </p:cNvPr>
          <p:cNvSpPr>
            <a:spLocks/>
          </p:cNvSpPr>
          <p:nvPr userDrawn="1"/>
        </p:nvSpPr>
        <p:spPr bwMode="gray">
          <a:xfrm>
            <a:off x="3257816" y="2923454"/>
            <a:ext cx="2628000" cy="955028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vert="horz" lIns="180000" tIns="180000" rIns="108000" bIns="144000" rtlCol="0">
            <a:noAutofit/>
          </a:bodyPr>
          <a:lstStyle/>
          <a:p>
            <a:pPr marL="285750" indent="-285750">
              <a:spcBef>
                <a:spcPct val="20000"/>
              </a:spcBef>
              <a:buClr>
                <a:srgbClr val="009DD1"/>
              </a:buClr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287D001E-4A0C-4546-A3FE-E96D6CA3B94E}"/>
              </a:ext>
            </a:extLst>
          </p:cNvPr>
          <p:cNvSpPr>
            <a:spLocks/>
          </p:cNvSpPr>
          <p:nvPr userDrawn="1"/>
        </p:nvSpPr>
        <p:spPr bwMode="gray">
          <a:xfrm>
            <a:off x="6066368" y="2923454"/>
            <a:ext cx="2628000" cy="955028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vert="horz" lIns="180000" tIns="180000" rIns="108000" bIns="144000" rtlCol="0">
            <a:noAutofit/>
          </a:bodyPr>
          <a:lstStyle/>
          <a:p>
            <a:pPr marL="285750" indent="-285750">
              <a:spcBef>
                <a:spcPct val="20000"/>
              </a:spcBef>
              <a:buClr>
                <a:srgbClr val="009DD1"/>
              </a:buClr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E90AA676-3A89-4B8C-A511-1BE7F0CA5993}"/>
              </a:ext>
            </a:extLst>
          </p:cNvPr>
          <p:cNvSpPr>
            <a:spLocks/>
          </p:cNvSpPr>
          <p:nvPr userDrawn="1"/>
        </p:nvSpPr>
        <p:spPr bwMode="gray">
          <a:xfrm>
            <a:off x="449263" y="2923454"/>
            <a:ext cx="2628000" cy="955028"/>
          </a:xfrm>
          <a:prstGeom prst="rect">
            <a:avLst/>
          </a:prstGeom>
          <a:solidFill>
            <a:srgbClr val="F3F3F3"/>
          </a:solidFill>
          <a:ln>
            <a:noFill/>
          </a:ln>
        </p:spPr>
        <p:txBody>
          <a:bodyPr vert="horz" lIns="180000" tIns="180000" rIns="108000" bIns="144000" rtlCol="0">
            <a:noAutofit/>
          </a:bodyPr>
          <a:lstStyle/>
          <a:p>
            <a:pPr marL="285750" indent="-285750">
              <a:spcBef>
                <a:spcPct val="20000"/>
              </a:spcBef>
              <a:buClr>
                <a:srgbClr val="009DD1"/>
              </a:buClr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Gleichschenkliges Dreieck 33">
            <a:extLst>
              <a:ext uri="{FF2B5EF4-FFF2-40B4-BE49-F238E27FC236}">
                <a16:creationId xmlns:a16="http://schemas.microsoft.com/office/drawing/2014/main" id="{F0F09207-2F33-4E9A-B06C-E3A5E02205E4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6200143" y="2923454"/>
            <a:ext cx="215995" cy="108000"/>
          </a:xfrm>
          <a:prstGeom prst="triangle">
            <a:avLst/>
          </a:prstGeom>
          <a:solidFill>
            <a:srgbClr val="009DD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5" name="Gleichschenkliges Dreieck 34">
            <a:extLst>
              <a:ext uri="{FF2B5EF4-FFF2-40B4-BE49-F238E27FC236}">
                <a16:creationId xmlns:a16="http://schemas.microsoft.com/office/drawing/2014/main" id="{7A62AE01-0D82-4AFB-8085-65C9D2CA626D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600451" y="2923454"/>
            <a:ext cx="215995" cy="108000"/>
          </a:xfrm>
          <a:prstGeom prst="triangle">
            <a:avLst/>
          </a:prstGeom>
          <a:solidFill>
            <a:srgbClr val="009DD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36" name="Gleichschenkliges Dreieck 35">
            <a:extLst>
              <a:ext uri="{FF2B5EF4-FFF2-40B4-BE49-F238E27FC236}">
                <a16:creationId xmlns:a16="http://schemas.microsoft.com/office/drawing/2014/main" id="{43BCDE62-2119-4BCB-99D4-3A3F851B311C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3400297" y="2923454"/>
            <a:ext cx="215995" cy="108000"/>
          </a:xfrm>
          <a:prstGeom prst="triangle">
            <a:avLst/>
          </a:prstGeom>
          <a:solidFill>
            <a:srgbClr val="009DD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 userDrawn="1"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B2550B99-4996-4F04-8FA2-DC0FB49F744F}"/>
              </a:ext>
            </a:extLst>
          </p:cNvPr>
          <p:cNvSpPr>
            <a:spLocks noGrp="1"/>
          </p:cNvSpPr>
          <p:nvPr userDrawn="1">
            <p:ph type="pic" sz="quarter" idx="17" hasCustomPrompt="1"/>
          </p:nvPr>
        </p:nvSpPr>
        <p:spPr bwMode="gray">
          <a:xfrm>
            <a:off x="449263" y="1239838"/>
            <a:ext cx="1004400" cy="1004400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spcBef>
                <a:spcPts val="0"/>
              </a:spcBef>
              <a:defRPr sz="700"/>
            </a:lvl1pPr>
          </a:lstStyle>
          <a:p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auf das Symbol </a:t>
            </a:r>
            <a:br>
              <a:rPr lang="de-DE" dirty="0"/>
            </a:br>
            <a:r>
              <a:rPr lang="de-DE" dirty="0"/>
              <a:t>ein Bild einfüg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402F6050-9D7A-4590-AA9A-A7A33778EFC8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 bwMode="gray">
          <a:xfrm>
            <a:off x="449263" y="2383454"/>
            <a:ext cx="2628000" cy="540000"/>
          </a:xfrm>
          <a:solidFill>
            <a:schemeClr val="accent2"/>
          </a:solidFill>
        </p:spPr>
        <p:txBody>
          <a:bodyPr lIns="180000" tIns="0" rIns="180000" bIns="0" anchor="ctr" anchorCtr="0"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D7CC1154-8FC7-4FB4-BBB8-7FCBD1AD48A9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9263" y="2923454"/>
            <a:ext cx="2628000" cy="955028"/>
          </a:xfrm>
        </p:spPr>
        <p:txBody>
          <a:bodyPr lIns="180000" tIns="180000" rIns="180000" bIns="144000"/>
          <a:lstStyle>
            <a:lvl1pPr>
              <a:spcBef>
                <a:spcPts val="300"/>
              </a:spcBef>
              <a:defRPr sz="12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20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285750" indent="-285750">
              <a:spcBef>
                <a:spcPct val="20000"/>
              </a:spcBef>
              <a:buClr>
                <a:srgbClr val="009DD1"/>
              </a:buClr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Position</a:t>
            </a:r>
          </a:p>
          <a:p>
            <a:pPr lvl="1"/>
            <a:r>
              <a:rPr lang="de-DE" dirty="0"/>
              <a:t>Emailadresse</a:t>
            </a:r>
          </a:p>
          <a:p>
            <a:pPr lvl="1"/>
            <a:r>
              <a:rPr lang="de-DE" dirty="0"/>
              <a:t>Telefonnummer</a:t>
            </a:r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B3CF1BAB-F95F-4576-A3EC-168BAD168DA4}"/>
              </a:ext>
            </a:extLst>
          </p:cNvPr>
          <p:cNvSpPr>
            <a:spLocks noGrp="1"/>
          </p:cNvSpPr>
          <p:nvPr userDrawn="1">
            <p:ph type="pic" sz="quarter" idx="20" hasCustomPrompt="1"/>
          </p:nvPr>
        </p:nvSpPr>
        <p:spPr bwMode="gray">
          <a:xfrm>
            <a:off x="3257815" y="1239838"/>
            <a:ext cx="1004400" cy="1004400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spcBef>
                <a:spcPts val="0"/>
              </a:spcBef>
              <a:defRPr sz="700"/>
            </a:lvl1pPr>
          </a:lstStyle>
          <a:p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auf das Symbol </a:t>
            </a:r>
            <a:br>
              <a:rPr lang="de-DE" dirty="0"/>
            </a:br>
            <a:r>
              <a:rPr lang="de-DE" dirty="0"/>
              <a:t>ein Bild einfüge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5D4C43A8-89ED-4EB9-97D7-747C5DDFF10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257816" y="2383454"/>
            <a:ext cx="2628000" cy="540000"/>
          </a:xfrm>
          <a:solidFill>
            <a:schemeClr val="accent2"/>
          </a:solidFill>
        </p:spPr>
        <p:txBody>
          <a:bodyPr lIns="180000" tIns="0" rIns="180000" bIns="0" anchor="ctr" anchorCtr="0"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C8894A11-D774-4CDC-8BD4-F4D7D6266325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 bwMode="gray">
          <a:xfrm>
            <a:off x="3257816" y="2923454"/>
            <a:ext cx="2628000" cy="955028"/>
          </a:xfrm>
        </p:spPr>
        <p:txBody>
          <a:bodyPr lIns="180000" tIns="180000" rIns="180000" bIns="144000"/>
          <a:lstStyle>
            <a:lvl1pPr>
              <a:spcBef>
                <a:spcPts val="300"/>
              </a:spcBef>
              <a:defRPr sz="12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20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285750" indent="-285750">
              <a:spcBef>
                <a:spcPct val="20000"/>
              </a:spcBef>
              <a:buClr>
                <a:srgbClr val="009DD1"/>
              </a:buClr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Position</a:t>
            </a:r>
          </a:p>
          <a:p>
            <a:pPr lvl="1"/>
            <a:r>
              <a:rPr lang="de-DE" dirty="0"/>
              <a:t>Emailadresse</a:t>
            </a:r>
          </a:p>
          <a:p>
            <a:pPr lvl="1"/>
            <a:r>
              <a:rPr lang="de-DE" dirty="0"/>
              <a:t>Telefonnummer</a:t>
            </a:r>
          </a:p>
        </p:txBody>
      </p:sp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B0485E7A-2B37-4081-A0C9-7223B6C190BE}"/>
              </a:ext>
            </a:extLst>
          </p:cNvPr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6066368" y="1239838"/>
            <a:ext cx="1004400" cy="1004400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spcBef>
                <a:spcPts val="0"/>
              </a:spcBef>
              <a:defRPr sz="700"/>
            </a:lvl1pPr>
          </a:lstStyle>
          <a:p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auf das Symbol </a:t>
            </a:r>
            <a:br>
              <a:rPr lang="de-DE" dirty="0"/>
            </a:br>
            <a:r>
              <a:rPr lang="de-DE" dirty="0"/>
              <a:t>ein Bild einfügen</a:t>
            </a:r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6693839B-624A-483A-ADDF-63B6429D355D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 bwMode="gray">
          <a:xfrm>
            <a:off x="6066368" y="2383454"/>
            <a:ext cx="2628000" cy="540000"/>
          </a:xfrm>
          <a:solidFill>
            <a:schemeClr val="accent2"/>
          </a:solidFill>
        </p:spPr>
        <p:txBody>
          <a:bodyPr lIns="180000" tIns="0" rIns="180000" bIns="0" anchor="ctr" anchorCtr="0">
            <a:noAutofit/>
          </a:bodyPr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de-DE" dirty="0"/>
              <a:t>Vorname Nachname</a:t>
            </a:r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F5F8B023-A6E0-411D-8FA9-7BC9BF18539D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 bwMode="gray">
          <a:xfrm>
            <a:off x="6066368" y="2923454"/>
            <a:ext cx="2628000" cy="955028"/>
          </a:xfrm>
        </p:spPr>
        <p:txBody>
          <a:bodyPr lIns="180000" tIns="180000" rIns="180000" bIns="144000"/>
          <a:lstStyle>
            <a:lvl1pPr>
              <a:spcBef>
                <a:spcPts val="300"/>
              </a:spcBef>
              <a:defRPr sz="1200">
                <a:solidFill>
                  <a:schemeClr val="tx1"/>
                </a:solidFill>
              </a:defRPr>
            </a:lvl1pPr>
            <a:lvl2pPr>
              <a:spcBef>
                <a:spcPts val="300"/>
              </a:spcBef>
              <a:defRPr sz="120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285750" indent="-285750">
              <a:spcBef>
                <a:spcPct val="20000"/>
              </a:spcBef>
              <a:buClr>
                <a:srgbClr val="009DD1"/>
              </a:buClr>
            </a:pP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Position</a:t>
            </a:r>
          </a:p>
          <a:p>
            <a:pPr lvl="1"/>
            <a:r>
              <a:rPr lang="de-DE" dirty="0"/>
              <a:t>Emailadresse</a:t>
            </a:r>
          </a:p>
          <a:p>
            <a:pPr lvl="1"/>
            <a:r>
              <a:rPr lang="de-DE" dirty="0"/>
              <a:t>Telefonnummer</a:t>
            </a:r>
          </a:p>
        </p:txBody>
      </p:sp>
      <p:sp>
        <p:nvSpPr>
          <p:cNvPr id="40" name="Gleichschenkliges Dreieck 39">
            <a:extLst>
              <a:ext uri="{FF2B5EF4-FFF2-40B4-BE49-F238E27FC236}">
                <a16:creationId xmlns:a16="http://schemas.microsoft.com/office/drawing/2014/main" id="{F1082862-6487-4C47-925D-51855043F42B}"/>
              </a:ext>
            </a:extLst>
          </p:cNvPr>
          <p:cNvSpPr>
            <a:spLocks noChangeAspect="1"/>
          </p:cNvSpPr>
          <p:nvPr userDrawn="1"/>
        </p:nvSpPr>
        <p:spPr bwMode="gray">
          <a:xfrm rot="5400000">
            <a:off x="395266" y="4251685"/>
            <a:ext cx="215995" cy="108000"/>
          </a:xfrm>
          <a:prstGeom prst="triangl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326" y="4134412"/>
            <a:ext cx="8251200" cy="45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3721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München Sky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2949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8A411634-C28B-41E3-B3E7-8A4BEBDF70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239" b="8093"/>
          <a:stretch/>
        </p:blipFill>
        <p:spPr bwMode="gray">
          <a:xfrm>
            <a:off x="0" y="-349"/>
            <a:ext cx="9144000" cy="3470749"/>
          </a:xfrm>
          <a:prstGeom prst="rect">
            <a:avLst/>
          </a:prstGeo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E5A3ACC9-18FF-40A5-890D-49F66796A792}"/>
              </a:ext>
            </a:extLst>
          </p:cNvPr>
          <p:cNvSpPr/>
          <p:nvPr userDrawn="1"/>
        </p:nvSpPr>
        <p:spPr bwMode="gray">
          <a:xfrm>
            <a:off x="4260800" y="3469749"/>
            <a:ext cx="4883200" cy="5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260800" y="2202549"/>
            <a:ext cx="4881600" cy="1267200"/>
          </a:xfrm>
          <a:solidFill>
            <a:schemeClr val="accent1"/>
          </a:solidFill>
        </p:spPr>
        <p:txBody>
          <a:bodyPr lIns="360000" rIns="360000" anchor="ctr"/>
          <a:lstStyle>
            <a:lvl1pPr algn="l">
              <a:spcBef>
                <a:spcPts val="0"/>
              </a:spcBef>
              <a:defRPr sz="280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äsentationstitel </a:t>
            </a:r>
            <a:br>
              <a:rPr lang="de-DE" dirty="0"/>
            </a:br>
            <a:r>
              <a:rPr lang="de-DE" dirty="0"/>
              <a:t>in max. zwei Zeilen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7FC21D22-0E37-45E9-8134-9E4287B65F50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449263" y="4227933"/>
            <a:ext cx="1115747" cy="558000"/>
            <a:chOff x="7856284" y="172641"/>
            <a:chExt cx="836866" cy="418528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833149A5-FE09-4E14-9C73-EE1D3C58AAE1}"/>
                </a:ext>
              </a:extLst>
            </p:cNvPr>
            <p:cNvSpPr/>
            <p:nvPr/>
          </p:nvSpPr>
          <p:spPr bwMode="gray">
            <a:xfrm>
              <a:off x="7856284" y="172641"/>
              <a:ext cx="453901" cy="418528"/>
            </a:xfrm>
            <a:custGeom>
              <a:avLst/>
              <a:gdLst>
                <a:gd name="connsiteX0" fmla="*/ 418433 w 453901"/>
                <a:gd name="connsiteY0" fmla="*/ 0 h 418528"/>
                <a:gd name="connsiteX1" fmla="*/ 0 w 453901"/>
                <a:gd name="connsiteY1" fmla="*/ 0 h 418528"/>
                <a:gd name="connsiteX2" fmla="*/ 0 w 453901"/>
                <a:gd name="connsiteY2" fmla="*/ 418529 h 418528"/>
                <a:gd name="connsiteX3" fmla="*/ 418433 w 453901"/>
                <a:gd name="connsiteY3" fmla="*/ 418529 h 418528"/>
                <a:gd name="connsiteX4" fmla="*/ 418433 w 453901"/>
                <a:gd name="connsiteY4" fmla="*/ 0 h 418528"/>
                <a:gd name="connsiteX5" fmla="*/ 418433 w 453901"/>
                <a:gd name="connsiteY5" fmla="*/ 0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3901" h="418528">
                  <a:moveTo>
                    <a:pt x="418433" y="0"/>
                  </a:moveTo>
                  <a:lnTo>
                    <a:pt x="0" y="0"/>
                  </a:lnTo>
                  <a:lnTo>
                    <a:pt x="0" y="418529"/>
                  </a:lnTo>
                  <a:lnTo>
                    <a:pt x="418433" y="418529"/>
                  </a:lnTo>
                  <a:cubicBezTo>
                    <a:pt x="465677" y="283750"/>
                    <a:pt x="465773" y="134874"/>
                    <a:pt x="418433" y="0"/>
                  </a:cubicBezTo>
                  <a:lnTo>
                    <a:pt x="418433" y="0"/>
                  </a:lnTo>
                  <a:close/>
                </a:path>
              </a:pathLst>
            </a:custGeom>
            <a:solidFill>
              <a:srgbClr val="CAD2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E18722EB-2501-46CD-9C86-A3A6327A0F14}"/>
                </a:ext>
              </a:extLst>
            </p:cNvPr>
            <p:cNvSpPr/>
            <p:nvPr/>
          </p:nvSpPr>
          <p:spPr bwMode="gray">
            <a:xfrm>
              <a:off x="8274717" y="172641"/>
              <a:ext cx="418433" cy="418528"/>
            </a:xfrm>
            <a:custGeom>
              <a:avLst/>
              <a:gdLst>
                <a:gd name="connsiteX0" fmla="*/ 418433 w 418433"/>
                <a:gd name="connsiteY0" fmla="*/ 418529 h 418528"/>
                <a:gd name="connsiteX1" fmla="*/ 0 w 418433"/>
                <a:gd name="connsiteY1" fmla="*/ 418529 h 418528"/>
                <a:gd name="connsiteX2" fmla="*/ 0 w 418433"/>
                <a:gd name="connsiteY2" fmla="*/ 0 h 418528"/>
                <a:gd name="connsiteX3" fmla="*/ 418433 w 418433"/>
                <a:gd name="connsiteY3" fmla="*/ 0 h 418528"/>
                <a:gd name="connsiteX4" fmla="*/ 418433 w 418433"/>
                <a:gd name="connsiteY4" fmla="*/ 418529 h 418528"/>
                <a:gd name="connsiteX5" fmla="*/ 418433 w 418433"/>
                <a:gd name="connsiteY5" fmla="*/ 418529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8433" h="418528">
                  <a:moveTo>
                    <a:pt x="418433" y="418529"/>
                  </a:moveTo>
                  <a:lnTo>
                    <a:pt x="0" y="418529"/>
                  </a:lnTo>
                  <a:cubicBezTo>
                    <a:pt x="47244" y="283750"/>
                    <a:pt x="47339" y="134969"/>
                    <a:pt x="0" y="0"/>
                  </a:cubicBezTo>
                  <a:lnTo>
                    <a:pt x="418433" y="0"/>
                  </a:lnTo>
                  <a:lnTo>
                    <a:pt x="418433" y="418529"/>
                  </a:lnTo>
                  <a:lnTo>
                    <a:pt x="418433" y="418529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F2396AC9-4377-4E26-BFEB-13C8DFCAD068}"/>
                </a:ext>
              </a:extLst>
            </p:cNvPr>
            <p:cNvSpPr/>
            <p:nvPr/>
          </p:nvSpPr>
          <p:spPr bwMode="gray">
            <a:xfrm>
              <a:off x="8540655" y="242549"/>
              <a:ext cx="117896" cy="139641"/>
            </a:xfrm>
            <a:custGeom>
              <a:avLst/>
              <a:gdLst>
                <a:gd name="connsiteX0" fmla="*/ 109919 w 117896"/>
                <a:gd name="connsiteY0" fmla="*/ 6863 h 139641"/>
                <a:gd name="connsiteX1" fmla="*/ 109156 w 117896"/>
                <a:gd name="connsiteY1" fmla="*/ 5 h 139641"/>
                <a:gd name="connsiteX2" fmla="*/ 90488 w 117896"/>
                <a:gd name="connsiteY2" fmla="*/ 5 h 139641"/>
                <a:gd name="connsiteX3" fmla="*/ 78677 w 117896"/>
                <a:gd name="connsiteY3" fmla="*/ 5720 h 139641"/>
                <a:gd name="connsiteX4" fmla="*/ 26479 w 117896"/>
                <a:gd name="connsiteY4" fmla="*/ 62298 h 139641"/>
                <a:gd name="connsiteX5" fmla="*/ 26384 w 117896"/>
                <a:gd name="connsiteY5" fmla="*/ 6958 h 139641"/>
                <a:gd name="connsiteX6" fmla="*/ 19526 w 117896"/>
                <a:gd name="connsiteY6" fmla="*/ 100 h 139641"/>
                <a:gd name="connsiteX7" fmla="*/ 6858 w 117896"/>
                <a:gd name="connsiteY7" fmla="*/ 100 h 139641"/>
                <a:gd name="connsiteX8" fmla="*/ 0 w 117896"/>
                <a:gd name="connsiteY8" fmla="*/ 6958 h 139641"/>
                <a:gd name="connsiteX9" fmla="*/ 0 w 117896"/>
                <a:gd name="connsiteY9" fmla="*/ 132783 h 139641"/>
                <a:gd name="connsiteX10" fmla="*/ 6858 w 117896"/>
                <a:gd name="connsiteY10" fmla="*/ 139641 h 139641"/>
                <a:gd name="connsiteX11" fmla="*/ 19622 w 117896"/>
                <a:gd name="connsiteY11" fmla="*/ 139641 h 139641"/>
                <a:gd name="connsiteX12" fmla="*/ 26479 w 117896"/>
                <a:gd name="connsiteY12" fmla="*/ 132783 h 139641"/>
                <a:gd name="connsiteX13" fmla="*/ 26479 w 117896"/>
                <a:gd name="connsiteY13" fmla="*/ 99922 h 139641"/>
                <a:gd name="connsiteX14" fmla="*/ 49625 w 117896"/>
                <a:gd name="connsiteY14" fmla="*/ 74871 h 139641"/>
                <a:gd name="connsiteX15" fmla="*/ 85439 w 117896"/>
                <a:gd name="connsiteY15" fmla="*/ 132783 h 139641"/>
                <a:gd name="connsiteX16" fmla="*/ 94869 w 117896"/>
                <a:gd name="connsiteY16" fmla="*/ 139641 h 139641"/>
                <a:gd name="connsiteX17" fmla="*/ 114014 w 117896"/>
                <a:gd name="connsiteY17" fmla="*/ 139641 h 139641"/>
                <a:gd name="connsiteX18" fmla="*/ 116681 w 117896"/>
                <a:gd name="connsiteY18" fmla="*/ 132783 h 139641"/>
                <a:gd name="connsiteX19" fmla="*/ 67247 w 117896"/>
                <a:gd name="connsiteY19" fmla="*/ 55154 h 139641"/>
                <a:gd name="connsiteX20" fmla="*/ 109919 w 117896"/>
                <a:gd name="connsiteY20" fmla="*/ 6863 h 139641"/>
                <a:gd name="connsiteX21" fmla="*/ 109919 w 117896"/>
                <a:gd name="connsiteY21" fmla="*/ 6863 h 13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7896" h="139641">
                  <a:moveTo>
                    <a:pt x="109919" y="6863"/>
                  </a:moveTo>
                  <a:cubicBezTo>
                    <a:pt x="113348" y="3053"/>
                    <a:pt x="112967" y="5"/>
                    <a:pt x="109156" y="5"/>
                  </a:cubicBezTo>
                  <a:lnTo>
                    <a:pt x="90488" y="5"/>
                  </a:lnTo>
                  <a:cubicBezTo>
                    <a:pt x="86677" y="5"/>
                    <a:pt x="84773" y="-376"/>
                    <a:pt x="78677" y="5720"/>
                  </a:cubicBezTo>
                  <a:lnTo>
                    <a:pt x="26479" y="62298"/>
                  </a:lnTo>
                  <a:lnTo>
                    <a:pt x="26384" y="6958"/>
                  </a:lnTo>
                  <a:cubicBezTo>
                    <a:pt x="26384" y="3148"/>
                    <a:pt x="23336" y="100"/>
                    <a:pt x="19526" y="100"/>
                  </a:cubicBezTo>
                  <a:lnTo>
                    <a:pt x="6858" y="100"/>
                  </a:lnTo>
                  <a:cubicBezTo>
                    <a:pt x="3048" y="100"/>
                    <a:pt x="0" y="3148"/>
                    <a:pt x="0" y="6958"/>
                  </a:cubicBezTo>
                  <a:lnTo>
                    <a:pt x="0" y="132783"/>
                  </a:lnTo>
                  <a:cubicBezTo>
                    <a:pt x="0" y="136593"/>
                    <a:pt x="3048" y="139641"/>
                    <a:pt x="6858" y="139641"/>
                  </a:cubicBezTo>
                  <a:lnTo>
                    <a:pt x="19622" y="139641"/>
                  </a:lnTo>
                  <a:cubicBezTo>
                    <a:pt x="23431" y="139641"/>
                    <a:pt x="26479" y="136593"/>
                    <a:pt x="26479" y="132783"/>
                  </a:cubicBezTo>
                  <a:lnTo>
                    <a:pt x="26479" y="99922"/>
                  </a:lnTo>
                  <a:lnTo>
                    <a:pt x="49625" y="74871"/>
                  </a:lnTo>
                  <a:lnTo>
                    <a:pt x="85439" y="132783"/>
                  </a:lnTo>
                  <a:cubicBezTo>
                    <a:pt x="87725" y="136593"/>
                    <a:pt x="91059" y="139641"/>
                    <a:pt x="94869" y="139641"/>
                  </a:cubicBezTo>
                  <a:lnTo>
                    <a:pt x="114014" y="139641"/>
                  </a:lnTo>
                  <a:cubicBezTo>
                    <a:pt x="117824" y="139641"/>
                    <a:pt x="119063" y="136593"/>
                    <a:pt x="116681" y="132783"/>
                  </a:cubicBezTo>
                  <a:lnTo>
                    <a:pt x="67247" y="55154"/>
                  </a:lnTo>
                  <a:lnTo>
                    <a:pt x="109919" y="6863"/>
                  </a:lnTo>
                  <a:lnTo>
                    <a:pt x="109919" y="68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72488FE8-DA2A-4E3B-A01A-91BF60872EB7}"/>
                </a:ext>
              </a:extLst>
            </p:cNvPr>
            <p:cNvSpPr/>
            <p:nvPr/>
          </p:nvSpPr>
          <p:spPr bwMode="gray">
            <a:xfrm>
              <a:off x="8344440" y="242459"/>
              <a:ext cx="27717" cy="139541"/>
            </a:xfrm>
            <a:custGeom>
              <a:avLst/>
              <a:gdLst>
                <a:gd name="connsiteX0" fmla="*/ 0 w 27717"/>
                <a:gd name="connsiteY0" fmla="*/ 132683 h 139541"/>
                <a:gd name="connsiteX1" fmla="*/ 6858 w 27717"/>
                <a:gd name="connsiteY1" fmla="*/ 139541 h 139541"/>
                <a:gd name="connsiteX2" fmla="*/ 20765 w 27717"/>
                <a:gd name="connsiteY2" fmla="*/ 139541 h 139541"/>
                <a:gd name="connsiteX3" fmla="*/ 27623 w 27717"/>
                <a:gd name="connsiteY3" fmla="*/ 132683 h 139541"/>
                <a:gd name="connsiteX4" fmla="*/ 27718 w 27717"/>
                <a:gd name="connsiteY4" fmla="*/ 6858 h 139541"/>
                <a:gd name="connsiteX5" fmla="*/ 20860 w 27717"/>
                <a:gd name="connsiteY5" fmla="*/ 0 h 139541"/>
                <a:gd name="connsiteX6" fmla="*/ 6953 w 27717"/>
                <a:gd name="connsiteY6" fmla="*/ 0 h 139541"/>
                <a:gd name="connsiteX7" fmla="*/ 95 w 27717"/>
                <a:gd name="connsiteY7" fmla="*/ 6858 h 139541"/>
                <a:gd name="connsiteX8" fmla="*/ 0 w 27717"/>
                <a:gd name="connsiteY8" fmla="*/ 132683 h 139541"/>
                <a:gd name="connsiteX9" fmla="*/ 0 w 27717"/>
                <a:gd name="connsiteY9" fmla="*/ 132683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717" h="139541">
                  <a:moveTo>
                    <a:pt x="0" y="132683"/>
                  </a:moveTo>
                  <a:cubicBezTo>
                    <a:pt x="0" y="136493"/>
                    <a:pt x="3048" y="139541"/>
                    <a:pt x="6858" y="139541"/>
                  </a:cubicBezTo>
                  <a:lnTo>
                    <a:pt x="20765" y="139541"/>
                  </a:lnTo>
                  <a:cubicBezTo>
                    <a:pt x="24575" y="139541"/>
                    <a:pt x="27623" y="136493"/>
                    <a:pt x="27623" y="132683"/>
                  </a:cubicBezTo>
                  <a:lnTo>
                    <a:pt x="27718" y="6858"/>
                  </a:lnTo>
                  <a:cubicBezTo>
                    <a:pt x="27718" y="3048"/>
                    <a:pt x="24670" y="0"/>
                    <a:pt x="20860" y="0"/>
                  </a:cubicBezTo>
                  <a:lnTo>
                    <a:pt x="6953" y="0"/>
                  </a:lnTo>
                  <a:cubicBezTo>
                    <a:pt x="3143" y="0"/>
                    <a:pt x="95" y="3048"/>
                    <a:pt x="95" y="6858"/>
                  </a:cubicBezTo>
                  <a:lnTo>
                    <a:pt x="0" y="132683"/>
                  </a:lnTo>
                  <a:lnTo>
                    <a:pt x="0" y="13268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9B7F0387-06FF-4210-A1D4-5535313D1E35}"/>
                </a:ext>
              </a:extLst>
            </p:cNvPr>
            <p:cNvSpPr/>
            <p:nvPr/>
          </p:nvSpPr>
          <p:spPr bwMode="gray">
            <a:xfrm>
              <a:off x="8401114" y="242554"/>
              <a:ext cx="110490" cy="139541"/>
            </a:xfrm>
            <a:custGeom>
              <a:avLst/>
              <a:gdLst>
                <a:gd name="connsiteX0" fmla="*/ 82963 w 110490"/>
                <a:gd name="connsiteY0" fmla="*/ 6858 h 139541"/>
                <a:gd name="connsiteX1" fmla="*/ 89821 w 110490"/>
                <a:gd name="connsiteY1" fmla="*/ 0 h 139541"/>
                <a:gd name="connsiteX2" fmla="*/ 103632 w 110490"/>
                <a:gd name="connsiteY2" fmla="*/ 0 h 139541"/>
                <a:gd name="connsiteX3" fmla="*/ 110490 w 110490"/>
                <a:gd name="connsiteY3" fmla="*/ 6858 h 139541"/>
                <a:gd name="connsiteX4" fmla="*/ 110490 w 110490"/>
                <a:gd name="connsiteY4" fmla="*/ 132683 h 139541"/>
                <a:gd name="connsiteX5" fmla="*/ 103632 w 110490"/>
                <a:gd name="connsiteY5" fmla="*/ 139541 h 139541"/>
                <a:gd name="connsiteX6" fmla="*/ 89916 w 110490"/>
                <a:gd name="connsiteY6" fmla="*/ 139541 h 139541"/>
                <a:gd name="connsiteX7" fmla="*/ 83058 w 110490"/>
                <a:gd name="connsiteY7" fmla="*/ 132683 h 139541"/>
                <a:gd name="connsiteX8" fmla="*/ 82963 w 110490"/>
                <a:gd name="connsiteY8" fmla="*/ 80867 h 139541"/>
                <a:gd name="connsiteX9" fmla="*/ 27527 w 110490"/>
                <a:gd name="connsiteY9" fmla="*/ 80867 h 139541"/>
                <a:gd name="connsiteX10" fmla="*/ 27527 w 110490"/>
                <a:gd name="connsiteY10" fmla="*/ 132683 h 139541"/>
                <a:gd name="connsiteX11" fmla="*/ 20669 w 110490"/>
                <a:gd name="connsiteY11" fmla="*/ 139541 h 139541"/>
                <a:gd name="connsiteX12" fmla="*/ 6858 w 110490"/>
                <a:gd name="connsiteY12" fmla="*/ 139541 h 139541"/>
                <a:gd name="connsiteX13" fmla="*/ 0 w 110490"/>
                <a:gd name="connsiteY13" fmla="*/ 132683 h 139541"/>
                <a:gd name="connsiteX14" fmla="*/ 0 w 110490"/>
                <a:gd name="connsiteY14" fmla="*/ 6858 h 139541"/>
                <a:gd name="connsiteX15" fmla="*/ 6858 w 110490"/>
                <a:gd name="connsiteY15" fmla="*/ 0 h 139541"/>
                <a:gd name="connsiteX16" fmla="*/ 20669 w 110490"/>
                <a:gd name="connsiteY16" fmla="*/ 0 h 139541"/>
                <a:gd name="connsiteX17" fmla="*/ 27527 w 110490"/>
                <a:gd name="connsiteY17" fmla="*/ 6858 h 139541"/>
                <a:gd name="connsiteX18" fmla="*/ 27432 w 110490"/>
                <a:gd name="connsiteY18" fmla="*/ 57436 h 139541"/>
                <a:gd name="connsiteX19" fmla="*/ 82868 w 110490"/>
                <a:gd name="connsiteY19" fmla="*/ 57436 h 139541"/>
                <a:gd name="connsiteX20" fmla="*/ 82963 w 110490"/>
                <a:gd name="connsiteY20" fmla="*/ 6858 h 139541"/>
                <a:gd name="connsiteX21" fmla="*/ 82963 w 110490"/>
                <a:gd name="connsiteY21" fmla="*/ 6858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0490" h="139541">
                  <a:moveTo>
                    <a:pt x="82963" y="6858"/>
                  </a:moveTo>
                  <a:cubicBezTo>
                    <a:pt x="82963" y="3048"/>
                    <a:pt x="86011" y="0"/>
                    <a:pt x="89821" y="0"/>
                  </a:cubicBezTo>
                  <a:lnTo>
                    <a:pt x="103632" y="0"/>
                  </a:lnTo>
                  <a:cubicBezTo>
                    <a:pt x="107442" y="0"/>
                    <a:pt x="110490" y="3048"/>
                    <a:pt x="110490" y="6858"/>
                  </a:cubicBezTo>
                  <a:lnTo>
                    <a:pt x="110490" y="132683"/>
                  </a:lnTo>
                  <a:cubicBezTo>
                    <a:pt x="110490" y="136493"/>
                    <a:pt x="107442" y="139541"/>
                    <a:pt x="103632" y="139541"/>
                  </a:cubicBezTo>
                  <a:lnTo>
                    <a:pt x="89916" y="139541"/>
                  </a:lnTo>
                  <a:cubicBezTo>
                    <a:pt x="86106" y="139541"/>
                    <a:pt x="83058" y="136493"/>
                    <a:pt x="83058" y="132683"/>
                  </a:cubicBezTo>
                  <a:lnTo>
                    <a:pt x="82963" y="80867"/>
                  </a:lnTo>
                  <a:lnTo>
                    <a:pt x="27527" y="80867"/>
                  </a:lnTo>
                  <a:lnTo>
                    <a:pt x="27527" y="132683"/>
                  </a:lnTo>
                  <a:cubicBezTo>
                    <a:pt x="27527" y="136493"/>
                    <a:pt x="24479" y="139541"/>
                    <a:pt x="20669" y="139541"/>
                  </a:cubicBezTo>
                  <a:lnTo>
                    <a:pt x="6858" y="139541"/>
                  </a:lnTo>
                  <a:cubicBezTo>
                    <a:pt x="3048" y="139541"/>
                    <a:pt x="0" y="136493"/>
                    <a:pt x="0" y="132683"/>
                  </a:cubicBezTo>
                  <a:lnTo>
                    <a:pt x="0" y="6858"/>
                  </a:lnTo>
                  <a:cubicBezTo>
                    <a:pt x="0" y="3048"/>
                    <a:pt x="3048" y="0"/>
                    <a:pt x="6858" y="0"/>
                  </a:cubicBezTo>
                  <a:lnTo>
                    <a:pt x="20669" y="0"/>
                  </a:lnTo>
                  <a:cubicBezTo>
                    <a:pt x="24479" y="0"/>
                    <a:pt x="27527" y="3048"/>
                    <a:pt x="27527" y="6858"/>
                  </a:cubicBezTo>
                  <a:lnTo>
                    <a:pt x="27432" y="57436"/>
                  </a:lnTo>
                  <a:lnTo>
                    <a:pt x="82868" y="57436"/>
                  </a:lnTo>
                  <a:lnTo>
                    <a:pt x="82963" y="6858"/>
                  </a:lnTo>
                  <a:lnTo>
                    <a:pt x="82963" y="68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D1858C6F-E26A-4B41-AA3B-59AB1C4D635C}"/>
                </a:ext>
              </a:extLst>
            </p:cNvPr>
            <p:cNvSpPr/>
            <p:nvPr/>
          </p:nvSpPr>
          <p:spPr bwMode="gray">
            <a:xfrm>
              <a:off x="7974203" y="242840"/>
              <a:ext cx="91059" cy="278511"/>
            </a:xfrm>
            <a:custGeom>
              <a:avLst/>
              <a:gdLst>
                <a:gd name="connsiteX0" fmla="*/ 91059 w 91059"/>
                <a:gd name="connsiteY0" fmla="*/ 0 h 278511"/>
                <a:gd name="connsiteX1" fmla="*/ 0 w 91059"/>
                <a:gd name="connsiteY1" fmla="*/ 139256 h 278511"/>
                <a:gd name="connsiteX2" fmla="*/ 91059 w 91059"/>
                <a:gd name="connsiteY2" fmla="*/ 278511 h 278511"/>
                <a:gd name="connsiteX3" fmla="*/ 91059 w 91059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9" h="278511">
                  <a:moveTo>
                    <a:pt x="91059" y="0"/>
                  </a:moveTo>
                  <a:lnTo>
                    <a:pt x="0" y="139256"/>
                  </a:lnTo>
                  <a:lnTo>
                    <a:pt x="91059" y="278511"/>
                  </a:lnTo>
                  <a:lnTo>
                    <a:pt x="91059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6B054158-808B-46DB-9EB8-A2C3581F50BE}"/>
                </a:ext>
              </a:extLst>
            </p:cNvPr>
            <p:cNvSpPr/>
            <p:nvPr/>
          </p:nvSpPr>
          <p:spPr bwMode="gray">
            <a:xfrm>
              <a:off x="8065262" y="242840"/>
              <a:ext cx="91058" cy="278511"/>
            </a:xfrm>
            <a:custGeom>
              <a:avLst/>
              <a:gdLst>
                <a:gd name="connsiteX0" fmla="*/ 0 w 91058"/>
                <a:gd name="connsiteY0" fmla="*/ 0 h 278511"/>
                <a:gd name="connsiteX1" fmla="*/ 91059 w 91058"/>
                <a:gd name="connsiteY1" fmla="*/ 139256 h 278511"/>
                <a:gd name="connsiteX2" fmla="*/ 0 w 91058"/>
                <a:gd name="connsiteY2" fmla="*/ 278511 h 278511"/>
                <a:gd name="connsiteX3" fmla="*/ 0 w 91058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8" h="278511">
                  <a:moveTo>
                    <a:pt x="0" y="0"/>
                  </a:moveTo>
                  <a:lnTo>
                    <a:pt x="91059" y="139256"/>
                  </a:lnTo>
                  <a:lnTo>
                    <a:pt x="0" y="2785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" name="Gleichschenkliges Dreieck 18">
            <a:extLst>
              <a:ext uri="{FF2B5EF4-FFF2-40B4-BE49-F238E27FC236}">
                <a16:creationId xmlns:a16="http://schemas.microsoft.com/office/drawing/2014/main" id="{0DDFBC0F-5C2D-4296-9BD2-08212B14804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646443" y="3469400"/>
            <a:ext cx="215995" cy="108000"/>
          </a:xfrm>
          <a:prstGeom prst="triangle">
            <a:avLst/>
          </a:prstGeom>
          <a:solidFill>
            <a:srgbClr val="00336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rgbClr val="003366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60800" y="3470098"/>
            <a:ext cx="4881600" cy="576000"/>
          </a:xfrm>
          <a:noFill/>
          <a:ln>
            <a:noFill/>
          </a:ln>
        </p:spPr>
        <p:txBody>
          <a:bodyPr lIns="360000" rIns="360000" anchor="ctr"/>
          <a:lstStyle>
            <a:lvl1pPr marL="0" indent="0" algn="l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Untertitel in max. eine Zeile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A8B905AF-4A64-4737-9E87-C94F92133859}"/>
              </a:ext>
            </a:extLst>
          </p:cNvPr>
          <p:cNvGrpSpPr/>
          <p:nvPr userDrawn="1"/>
        </p:nvGrpSpPr>
        <p:grpSpPr>
          <a:xfrm>
            <a:off x="-275432" y="-257175"/>
            <a:ext cx="9694864" cy="5657850"/>
            <a:chOff x="-275432" y="-257175"/>
            <a:chExt cx="9694864" cy="5657850"/>
          </a:xfrm>
        </p:grpSpPr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54C3CA46-C321-41D7-8244-4D2DABDAEBA8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97D70BD6-EA4B-49D6-841E-881C377DF254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6C7FA69E-48BF-4BED-BB49-AEB910395ACC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5C796D46-6450-472A-9045-63E3C6D56107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385287F9-02BB-4ACC-8005-A5B99F4B6C24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>
              <a:extLst>
                <a:ext uri="{FF2B5EF4-FFF2-40B4-BE49-F238E27FC236}">
                  <a16:creationId xmlns:a16="http://schemas.microsoft.com/office/drawing/2014/main" id="{D31A6B45-2A5D-4210-B50F-FBBB997A37A4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11AE48AE-50B3-4813-A43A-1EA9B178482E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D2A8AD6-852F-4095-9D1E-1BD7F36935DF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54EED5F9-E975-48F8-A8D0-C88D10412526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8F2C98F2-DAEC-4086-8D84-71497A32B4D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FD4B3C5E-7FF3-4C53-AE3F-E85F825FB08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0" name="Gruppieren 29">
              <a:extLst>
                <a:ext uri="{FF2B5EF4-FFF2-40B4-BE49-F238E27FC236}">
                  <a16:creationId xmlns:a16="http://schemas.microsoft.com/office/drawing/2014/main" id="{93D5D6A3-A5D7-4085-9103-846C16983517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1" name="Gerader Verbinder 30">
                <a:extLst>
                  <a:ext uri="{FF2B5EF4-FFF2-40B4-BE49-F238E27FC236}">
                    <a16:creationId xmlns:a16="http://schemas.microsoft.com/office/drawing/2014/main" id="{21067DA8-93C3-4847-8743-8CBF3651B24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2B734C9A-0AB2-4145-AA37-E6A65DB4D59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2994474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Dru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2056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2ECD246-8717-4DD6-8D29-C4FE616DD6CF}"/>
              </a:ext>
            </a:extLst>
          </p:cNvPr>
          <p:cNvSpPr/>
          <p:nvPr userDrawn="1"/>
        </p:nvSpPr>
        <p:spPr bwMode="gray">
          <a:xfrm>
            <a:off x="0" y="0"/>
            <a:ext cx="9144000" cy="5144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37272" y="3387412"/>
            <a:ext cx="7004666" cy="861774"/>
          </a:xfrm>
          <a:noFill/>
        </p:spPr>
        <p:txBody>
          <a:bodyPr lIns="0" rIns="0" anchor="b" anchorCtr="0">
            <a:noAutofit/>
          </a:bodyPr>
          <a:lstStyle>
            <a:lvl1pPr algn="l">
              <a:spcBef>
                <a:spcPts val="0"/>
              </a:spcBef>
              <a:defRPr sz="2800" cap="none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Dies ist eine Kapitelüberschrift</a:t>
            </a:r>
            <a:br>
              <a:rPr lang="de-DE" dirty="0"/>
            </a:br>
            <a:r>
              <a:rPr lang="de-DE" dirty="0"/>
              <a:t>in max. zwei Zeil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37271" y="4306850"/>
            <a:ext cx="7004666" cy="215444"/>
          </a:xfrm>
          <a:noFill/>
          <a:ln>
            <a:noFill/>
          </a:ln>
        </p:spPr>
        <p:txBody>
          <a:bodyPr lIns="0" rIns="0"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Untertitel in max. eine Zeile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8C5F4973-87C7-4A46-B187-22CBB8328DB1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7741938" y="212143"/>
            <a:ext cx="951212" cy="475714"/>
            <a:chOff x="7856284" y="172641"/>
            <a:chExt cx="836866" cy="418528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8C36B99E-60B3-449B-BB82-9E6D2A7DBDAB}"/>
                </a:ext>
              </a:extLst>
            </p:cNvPr>
            <p:cNvSpPr/>
            <p:nvPr/>
          </p:nvSpPr>
          <p:spPr bwMode="gray">
            <a:xfrm>
              <a:off x="7856284" y="172641"/>
              <a:ext cx="453901" cy="418528"/>
            </a:xfrm>
            <a:custGeom>
              <a:avLst/>
              <a:gdLst>
                <a:gd name="connsiteX0" fmla="*/ 418433 w 453901"/>
                <a:gd name="connsiteY0" fmla="*/ 0 h 418528"/>
                <a:gd name="connsiteX1" fmla="*/ 0 w 453901"/>
                <a:gd name="connsiteY1" fmla="*/ 0 h 418528"/>
                <a:gd name="connsiteX2" fmla="*/ 0 w 453901"/>
                <a:gd name="connsiteY2" fmla="*/ 418529 h 418528"/>
                <a:gd name="connsiteX3" fmla="*/ 418433 w 453901"/>
                <a:gd name="connsiteY3" fmla="*/ 418529 h 418528"/>
                <a:gd name="connsiteX4" fmla="*/ 418433 w 453901"/>
                <a:gd name="connsiteY4" fmla="*/ 0 h 418528"/>
                <a:gd name="connsiteX5" fmla="*/ 418433 w 453901"/>
                <a:gd name="connsiteY5" fmla="*/ 0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3901" h="418528">
                  <a:moveTo>
                    <a:pt x="418433" y="0"/>
                  </a:moveTo>
                  <a:lnTo>
                    <a:pt x="0" y="0"/>
                  </a:lnTo>
                  <a:lnTo>
                    <a:pt x="0" y="418529"/>
                  </a:lnTo>
                  <a:lnTo>
                    <a:pt x="418433" y="418529"/>
                  </a:lnTo>
                  <a:cubicBezTo>
                    <a:pt x="465677" y="283750"/>
                    <a:pt x="465773" y="134874"/>
                    <a:pt x="418433" y="0"/>
                  </a:cubicBezTo>
                  <a:lnTo>
                    <a:pt x="418433" y="0"/>
                  </a:lnTo>
                  <a:close/>
                </a:path>
              </a:pathLst>
            </a:custGeom>
            <a:solidFill>
              <a:srgbClr val="CAD2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B7AAF06B-2A13-4F87-B106-BA8E3A1BBE58}"/>
                </a:ext>
              </a:extLst>
            </p:cNvPr>
            <p:cNvSpPr/>
            <p:nvPr/>
          </p:nvSpPr>
          <p:spPr bwMode="gray">
            <a:xfrm>
              <a:off x="8274717" y="172641"/>
              <a:ext cx="418433" cy="418528"/>
            </a:xfrm>
            <a:custGeom>
              <a:avLst/>
              <a:gdLst>
                <a:gd name="connsiteX0" fmla="*/ 418433 w 418433"/>
                <a:gd name="connsiteY0" fmla="*/ 418529 h 418528"/>
                <a:gd name="connsiteX1" fmla="*/ 0 w 418433"/>
                <a:gd name="connsiteY1" fmla="*/ 418529 h 418528"/>
                <a:gd name="connsiteX2" fmla="*/ 0 w 418433"/>
                <a:gd name="connsiteY2" fmla="*/ 0 h 418528"/>
                <a:gd name="connsiteX3" fmla="*/ 418433 w 418433"/>
                <a:gd name="connsiteY3" fmla="*/ 0 h 418528"/>
                <a:gd name="connsiteX4" fmla="*/ 418433 w 418433"/>
                <a:gd name="connsiteY4" fmla="*/ 418529 h 418528"/>
                <a:gd name="connsiteX5" fmla="*/ 418433 w 418433"/>
                <a:gd name="connsiteY5" fmla="*/ 418529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8433" h="418528">
                  <a:moveTo>
                    <a:pt x="418433" y="418529"/>
                  </a:moveTo>
                  <a:lnTo>
                    <a:pt x="0" y="418529"/>
                  </a:lnTo>
                  <a:cubicBezTo>
                    <a:pt x="47244" y="283750"/>
                    <a:pt x="47339" y="134969"/>
                    <a:pt x="0" y="0"/>
                  </a:cubicBezTo>
                  <a:lnTo>
                    <a:pt x="418433" y="0"/>
                  </a:lnTo>
                  <a:lnTo>
                    <a:pt x="418433" y="418529"/>
                  </a:lnTo>
                  <a:lnTo>
                    <a:pt x="418433" y="418529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79BC4B67-12BA-47EF-89E8-063D33BC4F4F}"/>
                </a:ext>
              </a:extLst>
            </p:cNvPr>
            <p:cNvSpPr/>
            <p:nvPr/>
          </p:nvSpPr>
          <p:spPr bwMode="gray">
            <a:xfrm>
              <a:off x="8540655" y="242549"/>
              <a:ext cx="117896" cy="139641"/>
            </a:xfrm>
            <a:custGeom>
              <a:avLst/>
              <a:gdLst>
                <a:gd name="connsiteX0" fmla="*/ 109919 w 117896"/>
                <a:gd name="connsiteY0" fmla="*/ 6863 h 139641"/>
                <a:gd name="connsiteX1" fmla="*/ 109156 w 117896"/>
                <a:gd name="connsiteY1" fmla="*/ 5 h 139641"/>
                <a:gd name="connsiteX2" fmla="*/ 90488 w 117896"/>
                <a:gd name="connsiteY2" fmla="*/ 5 h 139641"/>
                <a:gd name="connsiteX3" fmla="*/ 78677 w 117896"/>
                <a:gd name="connsiteY3" fmla="*/ 5720 h 139641"/>
                <a:gd name="connsiteX4" fmla="*/ 26479 w 117896"/>
                <a:gd name="connsiteY4" fmla="*/ 62298 h 139641"/>
                <a:gd name="connsiteX5" fmla="*/ 26384 w 117896"/>
                <a:gd name="connsiteY5" fmla="*/ 6958 h 139641"/>
                <a:gd name="connsiteX6" fmla="*/ 19526 w 117896"/>
                <a:gd name="connsiteY6" fmla="*/ 100 h 139641"/>
                <a:gd name="connsiteX7" fmla="*/ 6858 w 117896"/>
                <a:gd name="connsiteY7" fmla="*/ 100 h 139641"/>
                <a:gd name="connsiteX8" fmla="*/ 0 w 117896"/>
                <a:gd name="connsiteY8" fmla="*/ 6958 h 139641"/>
                <a:gd name="connsiteX9" fmla="*/ 0 w 117896"/>
                <a:gd name="connsiteY9" fmla="*/ 132783 h 139641"/>
                <a:gd name="connsiteX10" fmla="*/ 6858 w 117896"/>
                <a:gd name="connsiteY10" fmla="*/ 139641 h 139641"/>
                <a:gd name="connsiteX11" fmla="*/ 19622 w 117896"/>
                <a:gd name="connsiteY11" fmla="*/ 139641 h 139641"/>
                <a:gd name="connsiteX12" fmla="*/ 26479 w 117896"/>
                <a:gd name="connsiteY12" fmla="*/ 132783 h 139641"/>
                <a:gd name="connsiteX13" fmla="*/ 26479 w 117896"/>
                <a:gd name="connsiteY13" fmla="*/ 99922 h 139641"/>
                <a:gd name="connsiteX14" fmla="*/ 49625 w 117896"/>
                <a:gd name="connsiteY14" fmla="*/ 74871 h 139641"/>
                <a:gd name="connsiteX15" fmla="*/ 85439 w 117896"/>
                <a:gd name="connsiteY15" fmla="*/ 132783 h 139641"/>
                <a:gd name="connsiteX16" fmla="*/ 94869 w 117896"/>
                <a:gd name="connsiteY16" fmla="*/ 139641 h 139641"/>
                <a:gd name="connsiteX17" fmla="*/ 114014 w 117896"/>
                <a:gd name="connsiteY17" fmla="*/ 139641 h 139641"/>
                <a:gd name="connsiteX18" fmla="*/ 116681 w 117896"/>
                <a:gd name="connsiteY18" fmla="*/ 132783 h 139641"/>
                <a:gd name="connsiteX19" fmla="*/ 67247 w 117896"/>
                <a:gd name="connsiteY19" fmla="*/ 55154 h 139641"/>
                <a:gd name="connsiteX20" fmla="*/ 109919 w 117896"/>
                <a:gd name="connsiteY20" fmla="*/ 6863 h 139641"/>
                <a:gd name="connsiteX21" fmla="*/ 109919 w 117896"/>
                <a:gd name="connsiteY21" fmla="*/ 6863 h 13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7896" h="139641">
                  <a:moveTo>
                    <a:pt x="109919" y="6863"/>
                  </a:moveTo>
                  <a:cubicBezTo>
                    <a:pt x="113348" y="3053"/>
                    <a:pt x="112967" y="5"/>
                    <a:pt x="109156" y="5"/>
                  </a:cubicBezTo>
                  <a:lnTo>
                    <a:pt x="90488" y="5"/>
                  </a:lnTo>
                  <a:cubicBezTo>
                    <a:pt x="86677" y="5"/>
                    <a:pt x="84773" y="-376"/>
                    <a:pt x="78677" y="5720"/>
                  </a:cubicBezTo>
                  <a:lnTo>
                    <a:pt x="26479" y="62298"/>
                  </a:lnTo>
                  <a:lnTo>
                    <a:pt x="26384" y="6958"/>
                  </a:lnTo>
                  <a:cubicBezTo>
                    <a:pt x="26384" y="3148"/>
                    <a:pt x="23336" y="100"/>
                    <a:pt x="19526" y="100"/>
                  </a:cubicBezTo>
                  <a:lnTo>
                    <a:pt x="6858" y="100"/>
                  </a:lnTo>
                  <a:cubicBezTo>
                    <a:pt x="3048" y="100"/>
                    <a:pt x="0" y="3148"/>
                    <a:pt x="0" y="6958"/>
                  </a:cubicBezTo>
                  <a:lnTo>
                    <a:pt x="0" y="132783"/>
                  </a:lnTo>
                  <a:cubicBezTo>
                    <a:pt x="0" y="136593"/>
                    <a:pt x="3048" y="139641"/>
                    <a:pt x="6858" y="139641"/>
                  </a:cubicBezTo>
                  <a:lnTo>
                    <a:pt x="19622" y="139641"/>
                  </a:lnTo>
                  <a:cubicBezTo>
                    <a:pt x="23431" y="139641"/>
                    <a:pt x="26479" y="136593"/>
                    <a:pt x="26479" y="132783"/>
                  </a:cubicBezTo>
                  <a:lnTo>
                    <a:pt x="26479" y="99922"/>
                  </a:lnTo>
                  <a:lnTo>
                    <a:pt x="49625" y="74871"/>
                  </a:lnTo>
                  <a:lnTo>
                    <a:pt x="85439" y="132783"/>
                  </a:lnTo>
                  <a:cubicBezTo>
                    <a:pt x="87725" y="136593"/>
                    <a:pt x="91059" y="139641"/>
                    <a:pt x="94869" y="139641"/>
                  </a:cubicBezTo>
                  <a:lnTo>
                    <a:pt x="114014" y="139641"/>
                  </a:lnTo>
                  <a:cubicBezTo>
                    <a:pt x="117824" y="139641"/>
                    <a:pt x="119063" y="136593"/>
                    <a:pt x="116681" y="132783"/>
                  </a:cubicBezTo>
                  <a:lnTo>
                    <a:pt x="67247" y="55154"/>
                  </a:lnTo>
                  <a:lnTo>
                    <a:pt x="109919" y="6863"/>
                  </a:lnTo>
                  <a:lnTo>
                    <a:pt x="109919" y="68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C51693ED-8FCD-47CA-B9BD-8D16C405A814}"/>
                </a:ext>
              </a:extLst>
            </p:cNvPr>
            <p:cNvSpPr/>
            <p:nvPr/>
          </p:nvSpPr>
          <p:spPr bwMode="gray">
            <a:xfrm>
              <a:off x="8344440" y="242459"/>
              <a:ext cx="27717" cy="139541"/>
            </a:xfrm>
            <a:custGeom>
              <a:avLst/>
              <a:gdLst>
                <a:gd name="connsiteX0" fmla="*/ 0 w 27717"/>
                <a:gd name="connsiteY0" fmla="*/ 132683 h 139541"/>
                <a:gd name="connsiteX1" fmla="*/ 6858 w 27717"/>
                <a:gd name="connsiteY1" fmla="*/ 139541 h 139541"/>
                <a:gd name="connsiteX2" fmla="*/ 20765 w 27717"/>
                <a:gd name="connsiteY2" fmla="*/ 139541 h 139541"/>
                <a:gd name="connsiteX3" fmla="*/ 27623 w 27717"/>
                <a:gd name="connsiteY3" fmla="*/ 132683 h 139541"/>
                <a:gd name="connsiteX4" fmla="*/ 27718 w 27717"/>
                <a:gd name="connsiteY4" fmla="*/ 6858 h 139541"/>
                <a:gd name="connsiteX5" fmla="*/ 20860 w 27717"/>
                <a:gd name="connsiteY5" fmla="*/ 0 h 139541"/>
                <a:gd name="connsiteX6" fmla="*/ 6953 w 27717"/>
                <a:gd name="connsiteY6" fmla="*/ 0 h 139541"/>
                <a:gd name="connsiteX7" fmla="*/ 95 w 27717"/>
                <a:gd name="connsiteY7" fmla="*/ 6858 h 139541"/>
                <a:gd name="connsiteX8" fmla="*/ 0 w 27717"/>
                <a:gd name="connsiteY8" fmla="*/ 132683 h 139541"/>
                <a:gd name="connsiteX9" fmla="*/ 0 w 27717"/>
                <a:gd name="connsiteY9" fmla="*/ 132683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717" h="139541">
                  <a:moveTo>
                    <a:pt x="0" y="132683"/>
                  </a:moveTo>
                  <a:cubicBezTo>
                    <a:pt x="0" y="136493"/>
                    <a:pt x="3048" y="139541"/>
                    <a:pt x="6858" y="139541"/>
                  </a:cubicBezTo>
                  <a:lnTo>
                    <a:pt x="20765" y="139541"/>
                  </a:lnTo>
                  <a:cubicBezTo>
                    <a:pt x="24575" y="139541"/>
                    <a:pt x="27623" y="136493"/>
                    <a:pt x="27623" y="132683"/>
                  </a:cubicBezTo>
                  <a:lnTo>
                    <a:pt x="27718" y="6858"/>
                  </a:lnTo>
                  <a:cubicBezTo>
                    <a:pt x="27718" y="3048"/>
                    <a:pt x="24670" y="0"/>
                    <a:pt x="20860" y="0"/>
                  </a:cubicBezTo>
                  <a:lnTo>
                    <a:pt x="6953" y="0"/>
                  </a:lnTo>
                  <a:cubicBezTo>
                    <a:pt x="3143" y="0"/>
                    <a:pt x="95" y="3048"/>
                    <a:pt x="95" y="6858"/>
                  </a:cubicBezTo>
                  <a:lnTo>
                    <a:pt x="0" y="132683"/>
                  </a:lnTo>
                  <a:lnTo>
                    <a:pt x="0" y="13268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DB7FFC00-BA67-4FF8-B3C0-6F79EB68D725}"/>
                </a:ext>
              </a:extLst>
            </p:cNvPr>
            <p:cNvSpPr/>
            <p:nvPr/>
          </p:nvSpPr>
          <p:spPr bwMode="gray">
            <a:xfrm>
              <a:off x="8401114" y="242554"/>
              <a:ext cx="110490" cy="139541"/>
            </a:xfrm>
            <a:custGeom>
              <a:avLst/>
              <a:gdLst>
                <a:gd name="connsiteX0" fmla="*/ 82963 w 110490"/>
                <a:gd name="connsiteY0" fmla="*/ 6858 h 139541"/>
                <a:gd name="connsiteX1" fmla="*/ 89821 w 110490"/>
                <a:gd name="connsiteY1" fmla="*/ 0 h 139541"/>
                <a:gd name="connsiteX2" fmla="*/ 103632 w 110490"/>
                <a:gd name="connsiteY2" fmla="*/ 0 h 139541"/>
                <a:gd name="connsiteX3" fmla="*/ 110490 w 110490"/>
                <a:gd name="connsiteY3" fmla="*/ 6858 h 139541"/>
                <a:gd name="connsiteX4" fmla="*/ 110490 w 110490"/>
                <a:gd name="connsiteY4" fmla="*/ 132683 h 139541"/>
                <a:gd name="connsiteX5" fmla="*/ 103632 w 110490"/>
                <a:gd name="connsiteY5" fmla="*/ 139541 h 139541"/>
                <a:gd name="connsiteX6" fmla="*/ 89916 w 110490"/>
                <a:gd name="connsiteY6" fmla="*/ 139541 h 139541"/>
                <a:gd name="connsiteX7" fmla="*/ 83058 w 110490"/>
                <a:gd name="connsiteY7" fmla="*/ 132683 h 139541"/>
                <a:gd name="connsiteX8" fmla="*/ 82963 w 110490"/>
                <a:gd name="connsiteY8" fmla="*/ 80867 h 139541"/>
                <a:gd name="connsiteX9" fmla="*/ 27527 w 110490"/>
                <a:gd name="connsiteY9" fmla="*/ 80867 h 139541"/>
                <a:gd name="connsiteX10" fmla="*/ 27527 w 110490"/>
                <a:gd name="connsiteY10" fmla="*/ 132683 h 139541"/>
                <a:gd name="connsiteX11" fmla="*/ 20669 w 110490"/>
                <a:gd name="connsiteY11" fmla="*/ 139541 h 139541"/>
                <a:gd name="connsiteX12" fmla="*/ 6858 w 110490"/>
                <a:gd name="connsiteY12" fmla="*/ 139541 h 139541"/>
                <a:gd name="connsiteX13" fmla="*/ 0 w 110490"/>
                <a:gd name="connsiteY13" fmla="*/ 132683 h 139541"/>
                <a:gd name="connsiteX14" fmla="*/ 0 w 110490"/>
                <a:gd name="connsiteY14" fmla="*/ 6858 h 139541"/>
                <a:gd name="connsiteX15" fmla="*/ 6858 w 110490"/>
                <a:gd name="connsiteY15" fmla="*/ 0 h 139541"/>
                <a:gd name="connsiteX16" fmla="*/ 20669 w 110490"/>
                <a:gd name="connsiteY16" fmla="*/ 0 h 139541"/>
                <a:gd name="connsiteX17" fmla="*/ 27527 w 110490"/>
                <a:gd name="connsiteY17" fmla="*/ 6858 h 139541"/>
                <a:gd name="connsiteX18" fmla="*/ 27432 w 110490"/>
                <a:gd name="connsiteY18" fmla="*/ 57436 h 139541"/>
                <a:gd name="connsiteX19" fmla="*/ 82868 w 110490"/>
                <a:gd name="connsiteY19" fmla="*/ 57436 h 139541"/>
                <a:gd name="connsiteX20" fmla="*/ 82963 w 110490"/>
                <a:gd name="connsiteY20" fmla="*/ 6858 h 139541"/>
                <a:gd name="connsiteX21" fmla="*/ 82963 w 110490"/>
                <a:gd name="connsiteY21" fmla="*/ 6858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0490" h="139541">
                  <a:moveTo>
                    <a:pt x="82963" y="6858"/>
                  </a:moveTo>
                  <a:cubicBezTo>
                    <a:pt x="82963" y="3048"/>
                    <a:pt x="86011" y="0"/>
                    <a:pt x="89821" y="0"/>
                  </a:cubicBezTo>
                  <a:lnTo>
                    <a:pt x="103632" y="0"/>
                  </a:lnTo>
                  <a:cubicBezTo>
                    <a:pt x="107442" y="0"/>
                    <a:pt x="110490" y="3048"/>
                    <a:pt x="110490" y="6858"/>
                  </a:cubicBezTo>
                  <a:lnTo>
                    <a:pt x="110490" y="132683"/>
                  </a:lnTo>
                  <a:cubicBezTo>
                    <a:pt x="110490" y="136493"/>
                    <a:pt x="107442" y="139541"/>
                    <a:pt x="103632" y="139541"/>
                  </a:cubicBezTo>
                  <a:lnTo>
                    <a:pt x="89916" y="139541"/>
                  </a:lnTo>
                  <a:cubicBezTo>
                    <a:pt x="86106" y="139541"/>
                    <a:pt x="83058" y="136493"/>
                    <a:pt x="83058" y="132683"/>
                  </a:cubicBezTo>
                  <a:lnTo>
                    <a:pt x="82963" y="80867"/>
                  </a:lnTo>
                  <a:lnTo>
                    <a:pt x="27527" y="80867"/>
                  </a:lnTo>
                  <a:lnTo>
                    <a:pt x="27527" y="132683"/>
                  </a:lnTo>
                  <a:cubicBezTo>
                    <a:pt x="27527" y="136493"/>
                    <a:pt x="24479" y="139541"/>
                    <a:pt x="20669" y="139541"/>
                  </a:cubicBezTo>
                  <a:lnTo>
                    <a:pt x="6858" y="139541"/>
                  </a:lnTo>
                  <a:cubicBezTo>
                    <a:pt x="3048" y="139541"/>
                    <a:pt x="0" y="136493"/>
                    <a:pt x="0" y="132683"/>
                  </a:cubicBezTo>
                  <a:lnTo>
                    <a:pt x="0" y="6858"/>
                  </a:lnTo>
                  <a:cubicBezTo>
                    <a:pt x="0" y="3048"/>
                    <a:pt x="3048" y="0"/>
                    <a:pt x="6858" y="0"/>
                  </a:cubicBezTo>
                  <a:lnTo>
                    <a:pt x="20669" y="0"/>
                  </a:lnTo>
                  <a:cubicBezTo>
                    <a:pt x="24479" y="0"/>
                    <a:pt x="27527" y="3048"/>
                    <a:pt x="27527" y="6858"/>
                  </a:cubicBezTo>
                  <a:lnTo>
                    <a:pt x="27432" y="57436"/>
                  </a:lnTo>
                  <a:lnTo>
                    <a:pt x="82868" y="57436"/>
                  </a:lnTo>
                  <a:lnTo>
                    <a:pt x="82963" y="6858"/>
                  </a:lnTo>
                  <a:lnTo>
                    <a:pt x="82963" y="68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B5022820-E3FC-4F4A-8DF6-7A2FBF30AA6E}"/>
                </a:ext>
              </a:extLst>
            </p:cNvPr>
            <p:cNvSpPr/>
            <p:nvPr/>
          </p:nvSpPr>
          <p:spPr bwMode="gray">
            <a:xfrm>
              <a:off x="7974203" y="242840"/>
              <a:ext cx="91059" cy="278511"/>
            </a:xfrm>
            <a:custGeom>
              <a:avLst/>
              <a:gdLst>
                <a:gd name="connsiteX0" fmla="*/ 91059 w 91059"/>
                <a:gd name="connsiteY0" fmla="*/ 0 h 278511"/>
                <a:gd name="connsiteX1" fmla="*/ 0 w 91059"/>
                <a:gd name="connsiteY1" fmla="*/ 139256 h 278511"/>
                <a:gd name="connsiteX2" fmla="*/ 91059 w 91059"/>
                <a:gd name="connsiteY2" fmla="*/ 278511 h 278511"/>
                <a:gd name="connsiteX3" fmla="*/ 91059 w 91059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9" h="278511">
                  <a:moveTo>
                    <a:pt x="91059" y="0"/>
                  </a:moveTo>
                  <a:lnTo>
                    <a:pt x="0" y="139256"/>
                  </a:lnTo>
                  <a:lnTo>
                    <a:pt x="91059" y="278511"/>
                  </a:lnTo>
                  <a:lnTo>
                    <a:pt x="91059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1DC6E8E7-0954-4731-85FA-4B1B04AA1212}"/>
                </a:ext>
              </a:extLst>
            </p:cNvPr>
            <p:cNvSpPr/>
            <p:nvPr/>
          </p:nvSpPr>
          <p:spPr bwMode="gray">
            <a:xfrm>
              <a:off x="8065262" y="242840"/>
              <a:ext cx="91058" cy="278511"/>
            </a:xfrm>
            <a:custGeom>
              <a:avLst/>
              <a:gdLst>
                <a:gd name="connsiteX0" fmla="*/ 0 w 91058"/>
                <a:gd name="connsiteY0" fmla="*/ 0 h 278511"/>
                <a:gd name="connsiteX1" fmla="*/ 91059 w 91058"/>
                <a:gd name="connsiteY1" fmla="*/ 139256 h 278511"/>
                <a:gd name="connsiteX2" fmla="*/ 0 w 91058"/>
                <a:gd name="connsiteY2" fmla="*/ 278511 h 278511"/>
                <a:gd name="connsiteX3" fmla="*/ 0 w 91058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8" h="278511">
                  <a:moveTo>
                    <a:pt x="0" y="0"/>
                  </a:moveTo>
                  <a:lnTo>
                    <a:pt x="91059" y="139256"/>
                  </a:lnTo>
                  <a:lnTo>
                    <a:pt x="0" y="2785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6138B1F-B0D8-4BB9-A504-E08198FF2FD4}"/>
              </a:ext>
            </a:extLst>
          </p:cNvPr>
          <p:cNvGrpSpPr/>
          <p:nvPr userDrawn="1"/>
        </p:nvGrpSpPr>
        <p:grpSpPr>
          <a:xfrm>
            <a:off x="-275432" y="-257175"/>
            <a:ext cx="9694864" cy="5657850"/>
            <a:chOff x="-275432" y="-257175"/>
            <a:chExt cx="9694864" cy="5657850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4F316D8C-A578-4194-8E21-6CF5678893BC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461DAEAA-10E9-4839-BA44-9042868A1350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645002F7-5ADE-4427-B133-AFD1A4504BD4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74AC1238-89EA-418F-8977-55F0FD702989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AEBBB4E1-427F-4D8E-A0DF-1FBB6E124E9A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7A19E380-0298-4D2C-BF8B-4EB2D8453143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B4CC1DAC-B49E-4C98-8178-5D98D48125B2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84B42F25-70F2-46FE-A4FA-23A03BFBA076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4C1ADEEC-7D82-4273-B29C-F358247BA34B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BF8E259C-F62C-45B1-ACE0-F81FF4BCAA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167A3613-EA95-431D-9D75-8AFC8DECEE8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336190D3-1001-454A-BF3C-31BEE518B9C1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F98F90D7-8D2F-432C-B54A-A0CD3A7718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5B48D6B4-7165-4AF1-B671-4BDCDA2FED8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6831064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Bildschirm/Bea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0585887-5354-4619-B8E0-1257B891C6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0790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0585887-5354-4619-B8E0-1257B891C6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9DF530B-BD3D-4D3E-BA02-DBFD828B3E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C2ECD246-8717-4DD6-8D29-C4FE616DD6CF}"/>
              </a:ext>
            </a:extLst>
          </p:cNvPr>
          <p:cNvSpPr/>
          <p:nvPr userDrawn="1"/>
        </p:nvSpPr>
        <p:spPr bwMode="gray">
          <a:xfrm>
            <a:off x="0" y="0"/>
            <a:ext cx="9144000" cy="514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737272" y="3387412"/>
            <a:ext cx="7004666" cy="861774"/>
          </a:xfrm>
          <a:noFill/>
        </p:spPr>
        <p:txBody>
          <a:bodyPr lIns="0" rIns="0" anchor="b" anchorCtr="0">
            <a:noAutofit/>
          </a:bodyPr>
          <a:lstStyle>
            <a:lvl1pPr algn="l">
              <a:spcBef>
                <a:spcPts val="0"/>
              </a:spcBef>
              <a:defRPr sz="280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Dies ist eine Kapitelüberschrift</a:t>
            </a:r>
            <a:br>
              <a:rPr lang="de-DE" dirty="0"/>
            </a:br>
            <a:r>
              <a:rPr lang="de-DE" dirty="0"/>
              <a:t>in max. zwei Zeil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737271" y="4306850"/>
            <a:ext cx="7004666" cy="215444"/>
          </a:xfrm>
          <a:noFill/>
          <a:ln>
            <a:noFill/>
          </a:ln>
        </p:spPr>
        <p:txBody>
          <a:bodyPr lIns="0" rIns="0"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 dirty="0"/>
              <a:t>Untertitel in max. eine Zeile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8C5F4973-87C7-4A46-B187-22CBB8328DB1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7741938" y="212143"/>
            <a:ext cx="951212" cy="475714"/>
            <a:chOff x="7856284" y="172641"/>
            <a:chExt cx="836866" cy="418528"/>
          </a:xfrm>
        </p:grpSpPr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8C36B99E-60B3-449B-BB82-9E6D2A7DBDAB}"/>
                </a:ext>
              </a:extLst>
            </p:cNvPr>
            <p:cNvSpPr/>
            <p:nvPr/>
          </p:nvSpPr>
          <p:spPr bwMode="gray">
            <a:xfrm>
              <a:off x="7856284" y="172641"/>
              <a:ext cx="453901" cy="418528"/>
            </a:xfrm>
            <a:custGeom>
              <a:avLst/>
              <a:gdLst>
                <a:gd name="connsiteX0" fmla="*/ 418433 w 453901"/>
                <a:gd name="connsiteY0" fmla="*/ 0 h 418528"/>
                <a:gd name="connsiteX1" fmla="*/ 0 w 453901"/>
                <a:gd name="connsiteY1" fmla="*/ 0 h 418528"/>
                <a:gd name="connsiteX2" fmla="*/ 0 w 453901"/>
                <a:gd name="connsiteY2" fmla="*/ 418529 h 418528"/>
                <a:gd name="connsiteX3" fmla="*/ 418433 w 453901"/>
                <a:gd name="connsiteY3" fmla="*/ 418529 h 418528"/>
                <a:gd name="connsiteX4" fmla="*/ 418433 w 453901"/>
                <a:gd name="connsiteY4" fmla="*/ 0 h 418528"/>
                <a:gd name="connsiteX5" fmla="*/ 418433 w 453901"/>
                <a:gd name="connsiteY5" fmla="*/ 0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3901" h="418528">
                  <a:moveTo>
                    <a:pt x="418433" y="0"/>
                  </a:moveTo>
                  <a:lnTo>
                    <a:pt x="0" y="0"/>
                  </a:lnTo>
                  <a:lnTo>
                    <a:pt x="0" y="418529"/>
                  </a:lnTo>
                  <a:lnTo>
                    <a:pt x="418433" y="418529"/>
                  </a:lnTo>
                  <a:cubicBezTo>
                    <a:pt x="465677" y="283750"/>
                    <a:pt x="465773" y="134874"/>
                    <a:pt x="418433" y="0"/>
                  </a:cubicBezTo>
                  <a:lnTo>
                    <a:pt x="418433" y="0"/>
                  </a:lnTo>
                  <a:close/>
                </a:path>
              </a:pathLst>
            </a:custGeom>
            <a:solidFill>
              <a:srgbClr val="CAD2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B7AAF06B-2A13-4F87-B106-BA8E3A1BBE58}"/>
                </a:ext>
              </a:extLst>
            </p:cNvPr>
            <p:cNvSpPr/>
            <p:nvPr/>
          </p:nvSpPr>
          <p:spPr bwMode="gray">
            <a:xfrm>
              <a:off x="8274717" y="172641"/>
              <a:ext cx="418433" cy="418528"/>
            </a:xfrm>
            <a:custGeom>
              <a:avLst/>
              <a:gdLst>
                <a:gd name="connsiteX0" fmla="*/ 418433 w 418433"/>
                <a:gd name="connsiteY0" fmla="*/ 418529 h 418528"/>
                <a:gd name="connsiteX1" fmla="*/ 0 w 418433"/>
                <a:gd name="connsiteY1" fmla="*/ 418529 h 418528"/>
                <a:gd name="connsiteX2" fmla="*/ 0 w 418433"/>
                <a:gd name="connsiteY2" fmla="*/ 0 h 418528"/>
                <a:gd name="connsiteX3" fmla="*/ 418433 w 418433"/>
                <a:gd name="connsiteY3" fmla="*/ 0 h 418528"/>
                <a:gd name="connsiteX4" fmla="*/ 418433 w 418433"/>
                <a:gd name="connsiteY4" fmla="*/ 418529 h 418528"/>
                <a:gd name="connsiteX5" fmla="*/ 418433 w 418433"/>
                <a:gd name="connsiteY5" fmla="*/ 418529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8433" h="418528">
                  <a:moveTo>
                    <a:pt x="418433" y="418529"/>
                  </a:moveTo>
                  <a:lnTo>
                    <a:pt x="0" y="418529"/>
                  </a:lnTo>
                  <a:cubicBezTo>
                    <a:pt x="47244" y="283750"/>
                    <a:pt x="47339" y="134969"/>
                    <a:pt x="0" y="0"/>
                  </a:cubicBezTo>
                  <a:lnTo>
                    <a:pt x="418433" y="0"/>
                  </a:lnTo>
                  <a:lnTo>
                    <a:pt x="418433" y="418529"/>
                  </a:lnTo>
                  <a:lnTo>
                    <a:pt x="418433" y="418529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79BC4B67-12BA-47EF-89E8-063D33BC4F4F}"/>
                </a:ext>
              </a:extLst>
            </p:cNvPr>
            <p:cNvSpPr/>
            <p:nvPr/>
          </p:nvSpPr>
          <p:spPr bwMode="gray">
            <a:xfrm>
              <a:off x="8540655" y="242549"/>
              <a:ext cx="117896" cy="139641"/>
            </a:xfrm>
            <a:custGeom>
              <a:avLst/>
              <a:gdLst>
                <a:gd name="connsiteX0" fmla="*/ 109919 w 117896"/>
                <a:gd name="connsiteY0" fmla="*/ 6863 h 139641"/>
                <a:gd name="connsiteX1" fmla="*/ 109156 w 117896"/>
                <a:gd name="connsiteY1" fmla="*/ 5 h 139641"/>
                <a:gd name="connsiteX2" fmla="*/ 90488 w 117896"/>
                <a:gd name="connsiteY2" fmla="*/ 5 h 139641"/>
                <a:gd name="connsiteX3" fmla="*/ 78677 w 117896"/>
                <a:gd name="connsiteY3" fmla="*/ 5720 h 139641"/>
                <a:gd name="connsiteX4" fmla="*/ 26479 w 117896"/>
                <a:gd name="connsiteY4" fmla="*/ 62298 h 139641"/>
                <a:gd name="connsiteX5" fmla="*/ 26384 w 117896"/>
                <a:gd name="connsiteY5" fmla="*/ 6958 h 139641"/>
                <a:gd name="connsiteX6" fmla="*/ 19526 w 117896"/>
                <a:gd name="connsiteY6" fmla="*/ 100 h 139641"/>
                <a:gd name="connsiteX7" fmla="*/ 6858 w 117896"/>
                <a:gd name="connsiteY7" fmla="*/ 100 h 139641"/>
                <a:gd name="connsiteX8" fmla="*/ 0 w 117896"/>
                <a:gd name="connsiteY8" fmla="*/ 6958 h 139641"/>
                <a:gd name="connsiteX9" fmla="*/ 0 w 117896"/>
                <a:gd name="connsiteY9" fmla="*/ 132783 h 139641"/>
                <a:gd name="connsiteX10" fmla="*/ 6858 w 117896"/>
                <a:gd name="connsiteY10" fmla="*/ 139641 h 139641"/>
                <a:gd name="connsiteX11" fmla="*/ 19622 w 117896"/>
                <a:gd name="connsiteY11" fmla="*/ 139641 h 139641"/>
                <a:gd name="connsiteX12" fmla="*/ 26479 w 117896"/>
                <a:gd name="connsiteY12" fmla="*/ 132783 h 139641"/>
                <a:gd name="connsiteX13" fmla="*/ 26479 w 117896"/>
                <a:gd name="connsiteY13" fmla="*/ 99922 h 139641"/>
                <a:gd name="connsiteX14" fmla="*/ 49625 w 117896"/>
                <a:gd name="connsiteY14" fmla="*/ 74871 h 139641"/>
                <a:gd name="connsiteX15" fmla="*/ 85439 w 117896"/>
                <a:gd name="connsiteY15" fmla="*/ 132783 h 139641"/>
                <a:gd name="connsiteX16" fmla="*/ 94869 w 117896"/>
                <a:gd name="connsiteY16" fmla="*/ 139641 h 139641"/>
                <a:gd name="connsiteX17" fmla="*/ 114014 w 117896"/>
                <a:gd name="connsiteY17" fmla="*/ 139641 h 139641"/>
                <a:gd name="connsiteX18" fmla="*/ 116681 w 117896"/>
                <a:gd name="connsiteY18" fmla="*/ 132783 h 139641"/>
                <a:gd name="connsiteX19" fmla="*/ 67247 w 117896"/>
                <a:gd name="connsiteY19" fmla="*/ 55154 h 139641"/>
                <a:gd name="connsiteX20" fmla="*/ 109919 w 117896"/>
                <a:gd name="connsiteY20" fmla="*/ 6863 h 139641"/>
                <a:gd name="connsiteX21" fmla="*/ 109919 w 117896"/>
                <a:gd name="connsiteY21" fmla="*/ 6863 h 13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7896" h="139641">
                  <a:moveTo>
                    <a:pt x="109919" y="6863"/>
                  </a:moveTo>
                  <a:cubicBezTo>
                    <a:pt x="113348" y="3053"/>
                    <a:pt x="112967" y="5"/>
                    <a:pt x="109156" y="5"/>
                  </a:cubicBezTo>
                  <a:lnTo>
                    <a:pt x="90488" y="5"/>
                  </a:lnTo>
                  <a:cubicBezTo>
                    <a:pt x="86677" y="5"/>
                    <a:pt x="84773" y="-376"/>
                    <a:pt x="78677" y="5720"/>
                  </a:cubicBezTo>
                  <a:lnTo>
                    <a:pt x="26479" y="62298"/>
                  </a:lnTo>
                  <a:lnTo>
                    <a:pt x="26384" y="6958"/>
                  </a:lnTo>
                  <a:cubicBezTo>
                    <a:pt x="26384" y="3148"/>
                    <a:pt x="23336" y="100"/>
                    <a:pt x="19526" y="100"/>
                  </a:cubicBezTo>
                  <a:lnTo>
                    <a:pt x="6858" y="100"/>
                  </a:lnTo>
                  <a:cubicBezTo>
                    <a:pt x="3048" y="100"/>
                    <a:pt x="0" y="3148"/>
                    <a:pt x="0" y="6958"/>
                  </a:cubicBezTo>
                  <a:lnTo>
                    <a:pt x="0" y="132783"/>
                  </a:lnTo>
                  <a:cubicBezTo>
                    <a:pt x="0" y="136593"/>
                    <a:pt x="3048" y="139641"/>
                    <a:pt x="6858" y="139641"/>
                  </a:cubicBezTo>
                  <a:lnTo>
                    <a:pt x="19622" y="139641"/>
                  </a:lnTo>
                  <a:cubicBezTo>
                    <a:pt x="23431" y="139641"/>
                    <a:pt x="26479" y="136593"/>
                    <a:pt x="26479" y="132783"/>
                  </a:cubicBezTo>
                  <a:lnTo>
                    <a:pt x="26479" y="99922"/>
                  </a:lnTo>
                  <a:lnTo>
                    <a:pt x="49625" y="74871"/>
                  </a:lnTo>
                  <a:lnTo>
                    <a:pt x="85439" y="132783"/>
                  </a:lnTo>
                  <a:cubicBezTo>
                    <a:pt x="87725" y="136593"/>
                    <a:pt x="91059" y="139641"/>
                    <a:pt x="94869" y="139641"/>
                  </a:cubicBezTo>
                  <a:lnTo>
                    <a:pt x="114014" y="139641"/>
                  </a:lnTo>
                  <a:cubicBezTo>
                    <a:pt x="117824" y="139641"/>
                    <a:pt x="119063" y="136593"/>
                    <a:pt x="116681" y="132783"/>
                  </a:cubicBezTo>
                  <a:lnTo>
                    <a:pt x="67247" y="55154"/>
                  </a:lnTo>
                  <a:lnTo>
                    <a:pt x="109919" y="6863"/>
                  </a:lnTo>
                  <a:lnTo>
                    <a:pt x="109919" y="68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C51693ED-8FCD-47CA-B9BD-8D16C405A814}"/>
                </a:ext>
              </a:extLst>
            </p:cNvPr>
            <p:cNvSpPr/>
            <p:nvPr/>
          </p:nvSpPr>
          <p:spPr bwMode="gray">
            <a:xfrm>
              <a:off x="8344440" y="242459"/>
              <a:ext cx="27717" cy="139541"/>
            </a:xfrm>
            <a:custGeom>
              <a:avLst/>
              <a:gdLst>
                <a:gd name="connsiteX0" fmla="*/ 0 w 27717"/>
                <a:gd name="connsiteY0" fmla="*/ 132683 h 139541"/>
                <a:gd name="connsiteX1" fmla="*/ 6858 w 27717"/>
                <a:gd name="connsiteY1" fmla="*/ 139541 h 139541"/>
                <a:gd name="connsiteX2" fmla="*/ 20765 w 27717"/>
                <a:gd name="connsiteY2" fmla="*/ 139541 h 139541"/>
                <a:gd name="connsiteX3" fmla="*/ 27623 w 27717"/>
                <a:gd name="connsiteY3" fmla="*/ 132683 h 139541"/>
                <a:gd name="connsiteX4" fmla="*/ 27718 w 27717"/>
                <a:gd name="connsiteY4" fmla="*/ 6858 h 139541"/>
                <a:gd name="connsiteX5" fmla="*/ 20860 w 27717"/>
                <a:gd name="connsiteY5" fmla="*/ 0 h 139541"/>
                <a:gd name="connsiteX6" fmla="*/ 6953 w 27717"/>
                <a:gd name="connsiteY6" fmla="*/ 0 h 139541"/>
                <a:gd name="connsiteX7" fmla="*/ 95 w 27717"/>
                <a:gd name="connsiteY7" fmla="*/ 6858 h 139541"/>
                <a:gd name="connsiteX8" fmla="*/ 0 w 27717"/>
                <a:gd name="connsiteY8" fmla="*/ 132683 h 139541"/>
                <a:gd name="connsiteX9" fmla="*/ 0 w 27717"/>
                <a:gd name="connsiteY9" fmla="*/ 132683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717" h="139541">
                  <a:moveTo>
                    <a:pt x="0" y="132683"/>
                  </a:moveTo>
                  <a:cubicBezTo>
                    <a:pt x="0" y="136493"/>
                    <a:pt x="3048" y="139541"/>
                    <a:pt x="6858" y="139541"/>
                  </a:cubicBezTo>
                  <a:lnTo>
                    <a:pt x="20765" y="139541"/>
                  </a:lnTo>
                  <a:cubicBezTo>
                    <a:pt x="24575" y="139541"/>
                    <a:pt x="27623" y="136493"/>
                    <a:pt x="27623" y="132683"/>
                  </a:cubicBezTo>
                  <a:lnTo>
                    <a:pt x="27718" y="6858"/>
                  </a:lnTo>
                  <a:cubicBezTo>
                    <a:pt x="27718" y="3048"/>
                    <a:pt x="24670" y="0"/>
                    <a:pt x="20860" y="0"/>
                  </a:cubicBezTo>
                  <a:lnTo>
                    <a:pt x="6953" y="0"/>
                  </a:lnTo>
                  <a:cubicBezTo>
                    <a:pt x="3143" y="0"/>
                    <a:pt x="95" y="3048"/>
                    <a:pt x="95" y="6858"/>
                  </a:cubicBezTo>
                  <a:lnTo>
                    <a:pt x="0" y="132683"/>
                  </a:lnTo>
                  <a:lnTo>
                    <a:pt x="0" y="13268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DB7FFC00-BA67-4FF8-B3C0-6F79EB68D725}"/>
                </a:ext>
              </a:extLst>
            </p:cNvPr>
            <p:cNvSpPr/>
            <p:nvPr/>
          </p:nvSpPr>
          <p:spPr bwMode="gray">
            <a:xfrm>
              <a:off x="8401114" y="242554"/>
              <a:ext cx="110490" cy="139541"/>
            </a:xfrm>
            <a:custGeom>
              <a:avLst/>
              <a:gdLst>
                <a:gd name="connsiteX0" fmla="*/ 82963 w 110490"/>
                <a:gd name="connsiteY0" fmla="*/ 6858 h 139541"/>
                <a:gd name="connsiteX1" fmla="*/ 89821 w 110490"/>
                <a:gd name="connsiteY1" fmla="*/ 0 h 139541"/>
                <a:gd name="connsiteX2" fmla="*/ 103632 w 110490"/>
                <a:gd name="connsiteY2" fmla="*/ 0 h 139541"/>
                <a:gd name="connsiteX3" fmla="*/ 110490 w 110490"/>
                <a:gd name="connsiteY3" fmla="*/ 6858 h 139541"/>
                <a:gd name="connsiteX4" fmla="*/ 110490 w 110490"/>
                <a:gd name="connsiteY4" fmla="*/ 132683 h 139541"/>
                <a:gd name="connsiteX5" fmla="*/ 103632 w 110490"/>
                <a:gd name="connsiteY5" fmla="*/ 139541 h 139541"/>
                <a:gd name="connsiteX6" fmla="*/ 89916 w 110490"/>
                <a:gd name="connsiteY6" fmla="*/ 139541 h 139541"/>
                <a:gd name="connsiteX7" fmla="*/ 83058 w 110490"/>
                <a:gd name="connsiteY7" fmla="*/ 132683 h 139541"/>
                <a:gd name="connsiteX8" fmla="*/ 82963 w 110490"/>
                <a:gd name="connsiteY8" fmla="*/ 80867 h 139541"/>
                <a:gd name="connsiteX9" fmla="*/ 27527 w 110490"/>
                <a:gd name="connsiteY9" fmla="*/ 80867 h 139541"/>
                <a:gd name="connsiteX10" fmla="*/ 27527 w 110490"/>
                <a:gd name="connsiteY10" fmla="*/ 132683 h 139541"/>
                <a:gd name="connsiteX11" fmla="*/ 20669 w 110490"/>
                <a:gd name="connsiteY11" fmla="*/ 139541 h 139541"/>
                <a:gd name="connsiteX12" fmla="*/ 6858 w 110490"/>
                <a:gd name="connsiteY12" fmla="*/ 139541 h 139541"/>
                <a:gd name="connsiteX13" fmla="*/ 0 w 110490"/>
                <a:gd name="connsiteY13" fmla="*/ 132683 h 139541"/>
                <a:gd name="connsiteX14" fmla="*/ 0 w 110490"/>
                <a:gd name="connsiteY14" fmla="*/ 6858 h 139541"/>
                <a:gd name="connsiteX15" fmla="*/ 6858 w 110490"/>
                <a:gd name="connsiteY15" fmla="*/ 0 h 139541"/>
                <a:gd name="connsiteX16" fmla="*/ 20669 w 110490"/>
                <a:gd name="connsiteY16" fmla="*/ 0 h 139541"/>
                <a:gd name="connsiteX17" fmla="*/ 27527 w 110490"/>
                <a:gd name="connsiteY17" fmla="*/ 6858 h 139541"/>
                <a:gd name="connsiteX18" fmla="*/ 27432 w 110490"/>
                <a:gd name="connsiteY18" fmla="*/ 57436 h 139541"/>
                <a:gd name="connsiteX19" fmla="*/ 82868 w 110490"/>
                <a:gd name="connsiteY19" fmla="*/ 57436 h 139541"/>
                <a:gd name="connsiteX20" fmla="*/ 82963 w 110490"/>
                <a:gd name="connsiteY20" fmla="*/ 6858 h 139541"/>
                <a:gd name="connsiteX21" fmla="*/ 82963 w 110490"/>
                <a:gd name="connsiteY21" fmla="*/ 6858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0490" h="139541">
                  <a:moveTo>
                    <a:pt x="82963" y="6858"/>
                  </a:moveTo>
                  <a:cubicBezTo>
                    <a:pt x="82963" y="3048"/>
                    <a:pt x="86011" y="0"/>
                    <a:pt x="89821" y="0"/>
                  </a:cubicBezTo>
                  <a:lnTo>
                    <a:pt x="103632" y="0"/>
                  </a:lnTo>
                  <a:cubicBezTo>
                    <a:pt x="107442" y="0"/>
                    <a:pt x="110490" y="3048"/>
                    <a:pt x="110490" y="6858"/>
                  </a:cubicBezTo>
                  <a:lnTo>
                    <a:pt x="110490" y="132683"/>
                  </a:lnTo>
                  <a:cubicBezTo>
                    <a:pt x="110490" y="136493"/>
                    <a:pt x="107442" y="139541"/>
                    <a:pt x="103632" y="139541"/>
                  </a:cubicBezTo>
                  <a:lnTo>
                    <a:pt x="89916" y="139541"/>
                  </a:lnTo>
                  <a:cubicBezTo>
                    <a:pt x="86106" y="139541"/>
                    <a:pt x="83058" y="136493"/>
                    <a:pt x="83058" y="132683"/>
                  </a:cubicBezTo>
                  <a:lnTo>
                    <a:pt x="82963" y="80867"/>
                  </a:lnTo>
                  <a:lnTo>
                    <a:pt x="27527" y="80867"/>
                  </a:lnTo>
                  <a:lnTo>
                    <a:pt x="27527" y="132683"/>
                  </a:lnTo>
                  <a:cubicBezTo>
                    <a:pt x="27527" y="136493"/>
                    <a:pt x="24479" y="139541"/>
                    <a:pt x="20669" y="139541"/>
                  </a:cubicBezTo>
                  <a:lnTo>
                    <a:pt x="6858" y="139541"/>
                  </a:lnTo>
                  <a:cubicBezTo>
                    <a:pt x="3048" y="139541"/>
                    <a:pt x="0" y="136493"/>
                    <a:pt x="0" y="132683"/>
                  </a:cubicBezTo>
                  <a:lnTo>
                    <a:pt x="0" y="6858"/>
                  </a:lnTo>
                  <a:cubicBezTo>
                    <a:pt x="0" y="3048"/>
                    <a:pt x="3048" y="0"/>
                    <a:pt x="6858" y="0"/>
                  </a:cubicBezTo>
                  <a:lnTo>
                    <a:pt x="20669" y="0"/>
                  </a:lnTo>
                  <a:cubicBezTo>
                    <a:pt x="24479" y="0"/>
                    <a:pt x="27527" y="3048"/>
                    <a:pt x="27527" y="6858"/>
                  </a:cubicBezTo>
                  <a:lnTo>
                    <a:pt x="27432" y="57436"/>
                  </a:lnTo>
                  <a:lnTo>
                    <a:pt x="82868" y="57436"/>
                  </a:lnTo>
                  <a:lnTo>
                    <a:pt x="82963" y="6858"/>
                  </a:lnTo>
                  <a:lnTo>
                    <a:pt x="82963" y="68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B5022820-E3FC-4F4A-8DF6-7A2FBF30AA6E}"/>
                </a:ext>
              </a:extLst>
            </p:cNvPr>
            <p:cNvSpPr/>
            <p:nvPr/>
          </p:nvSpPr>
          <p:spPr bwMode="gray">
            <a:xfrm>
              <a:off x="7974203" y="242840"/>
              <a:ext cx="91059" cy="278511"/>
            </a:xfrm>
            <a:custGeom>
              <a:avLst/>
              <a:gdLst>
                <a:gd name="connsiteX0" fmla="*/ 91059 w 91059"/>
                <a:gd name="connsiteY0" fmla="*/ 0 h 278511"/>
                <a:gd name="connsiteX1" fmla="*/ 0 w 91059"/>
                <a:gd name="connsiteY1" fmla="*/ 139256 h 278511"/>
                <a:gd name="connsiteX2" fmla="*/ 91059 w 91059"/>
                <a:gd name="connsiteY2" fmla="*/ 278511 h 278511"/>
                <a:gd name="connsiteX3" fmla="*/ 91059 w 91059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9" h="278511">
                  <a:moveTo>
                    <a:pt x="91059" y="0"/>
                  </a:moveTo>
                  <a:lnTo>
                    <a:pt x="0" y="139256"/>
                  </a:lnTo>
                  <a:lnTo>
                    <a:pt x="91059" y="278511"/>
                  </a:lnTo>
                  <a:lnTo>
                    <a:pt x="91059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1DC6E8E7-0954-4731-85FA-4B1B04AA1212}"/>
                </a:ext>
              </a:extLst>
            </p:cNvPr>
            <p:cNvSpPr/>
            <p:nvPr/>
          </p:nvSpPr>
          <p:spPr bwMode="gray">
            <a:xfrm>
              <a:off x="8065262" y="242840"/>
              <a:ext cx="91058" cy="278511"/>
            </a:xfrm>
            <a:custGeom>
              <a:avLst/>
              <a:gdLst>
                <a:gd name="connsiteX0" fmla="*/ 0 w 91058"/>
                <a:gd name="connsiteY0" fmla="*/ 0 h 278511"/>
                <a:gd name="connsiteX1" fmla="*/ 91059 w 91058"/>
                <a:gd name="connsiteY1" fmla="*/ 139256 h 278511"/>
                <a:gd name="connsiteX2" fmla="*/ 0 w 91058"/>
                <a:gd name="connsiteY2" fmla="*/ 278511 h 278511"/>
                <a:gd name="connsiteX3" fmla="*/ 0 w 91058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8" h="278511">
                  <a:moveTo>
                    <a:pt x="0" y="0"/>
                  </a:moveTo>
                  <a:lnTo>
                    <a:pt x="91059" y="139256"/>
                  </a:lnTo>
                  <a:lnTo>
                    <a:pt x="0" y="2785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3DDF9A30-E837-489A-ACB1-332682E4DA33}"/>
              </a:ext>
            </a:extLst>
          </p:cNvPr>
          <p:cNvGrpSpPr/>
          <p:nvPr userDrawn="1"/>
        </p:nvGrpSpPr>
        <p:grpSpPr>
          <a:xfrm>
            <a:off x="-275432" y="-257175"/>
            <a:ext cx="9694864" cy="5657850"/>
            <a:chOff x="-275432" y="-257175"/>
            <a:chExt cx="9694864" cy="5657850"/>
          </a:xfrm>
        </p:grpSpPr>
        <p:cxnSp>
          <p:nvCxnSpPr>
            <p:cNvPr id="16" name="Gerader Verbinder 15">
              <a:extLst>
                <a:ext uri="{FF2B5EF4-FFF2-40B4-BE49-F238E27FC236}">
                  <a16:creationId xmlns:a16="http://schemas.microsoft.com/office/drawing/2014/main" id="{9FED959C-055C-420D-ACBE-FCCE4A84A4FC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530B4221-9FFF-4574-A7E8-CC7BB4E774E7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325246AA-7726-4DE4-8598-CB3725064E85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ED5BE621-8B81-461D-B4D3-E1F0DC9338DA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483FE5D1-C251-4202-B195-06D5B1B6DDA4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BDDB1C19-2C6C-46A1-ACD5-C3442575C71E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423FBFE3-B724-4E4A-AEB5-539498F72702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02DD7028-0F99-4B5C-8C93-46DD532EF495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AE6EC5DD-C87E-4D48-AAE8-47A7FF42AF07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27DBEF06-EC80-4E61-8AD5-BA4CA8261A6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r Verbinder 36">
                <a:extLst>
                  <a:ext uri="{FF2B5EF4-FFF2-40B4-BE49-F238E27FC236}">
                    <a16:creationId xmlns:a16="http://schemas.microsoft.com/office/drawing/2014/main" id="{EE613173-278A-4F52-9E33-05111F2C5A7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Gruppieren 32">
              <a:extLst>
                <a:ext uri="{FF2B5EF4-FFF2-40B4-BE49-F238E27FC236}">
                  <a16:creationId xmlns:a16="http://schemas.microsoft.com/office/drawing/2014/main" id="{4E35E6ED-9AE0-41F4-9031-ACE8E89B4D7D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4" name="Gerader Verbinder 33">
                <a:extLst>
                  <a:ext uri="{FF2B5EF4-FFF2-40B4-BE49-F238E27FC236}">
                    <a16:creationId xmlns:a16="http://schemas.microsoft.com/office/drawing/2014/main" id="{E4423644-616F-4A8C-A817-E504F8D677E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06511C4B-CFA1-4CEF-8485-5A374F0F93A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7323326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6739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12A4FC5-CED0-444A-9B5C-7B485B922F8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/>
        <p:txBody>
          <a:bodyPr/>
          <a:lstStyle>
            <a:lvl1pPr marL="358775" indent="-358775">
              <a:spcBef>
                <a:spcPts val="1200"/>
              </a:spcBef>
              <a:buFont typeface="+mj-lt"/>
              <a:buAutoNum type="romanUcPeriod"/>
              <a:defRPr b="0"/>
            </a:lvl1pPr>
            <a:lvl2pPr marL="630000" indent="-270000">
              <a:spcBef>
                <a:spcPts val="0"/>
              </a:spcBef>
              <a:buClr>
                <a:schemeClr val="tx1"/>
              </a:buClr>
              <a:buFont typeface="+mj-lt"/>
              <a:buAutoNum type="arabicPeriod"/>
              <a:defRPr/>
            </a:lvl2pPr>
            <a:lvl3pPr marL="898525" indent="-270000">
              <a:spcBef>
                <a:spcPts val="0"/>
              </a:spcBef>
              <a:buClr>
                <a:schemeClr val="tx1"/>
              </a:buClr>
              <a:buFont typeface="+mj-lt"/>
              <a:buAutoNum type="alphaLcPeriod"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722090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3843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4" y="1239838"/>
            <a:ext cx="8243886" cy="3348037"/>
          </a:xfrm>
          <a:noFill/>
        </p:spPr>
        <p:txBody>
          <a:bodyPr lIns="0" tIns="0" rIns="0" bIns="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  <a:p>
            <a:pPr lvl="6"/>
            <a:r>
              <a:rPr lang="de-DE" dirty="0"/>
              <a:t>Sechste Ebene</a:t>
            </a:r>
          </a:p>
          <a:p>
            <a:pPr lvl="7"/>
            <a:r>
              <a:rPr lang="de-DE" dirty="0"/>
              <a:t>Sieb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42143894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3817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3D737385-658B-4E09-8E19-E507E18FE28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 bwMode="gray"/>
        <p:txBody>
          <a:bodyPr/>
          <a:lstStyle/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  <a:p>
            <a:pPr lvl="6"/>
            <a:r>
              <a:rPr lang="de-DE" dirty="0"/>
              <a:t>Sechste Ebene</a:t>
            </a:r>
          </a:p>
          <a:p>
            <a:pPr lvl="7"/>
            <a:r>
              <a:rPr lang="de-DE" dirty="0"/>
              <a:t>Siebte Ebene</a:t>
            </a:r>
          </a:p>
        </p:txBody>
      </p:sp>
    </p:spTree>
    <p:extLst>
      <p:ext uri="{BB962C8B-B14F-4D97-AF65-F5344CB8AC3E}">
        <p14:creationId xmlns:p14="http://schemas.microsoft.com/office/powerpoint/2010/main" val="30502317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Spalte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6234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4" y="1239838"/>
            <a:ext cx="4032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  <a:p>
            <a:pPr lvl="6"/>
            <a:r>
              <a:rPr lang="de-DE" dirty="0"/>
              <a:t>Sechste Ebene</a:t>
            </a:r>
          </a:p>
          <a:p>
            <a:pPr lvl="7"/>
            <a:r>
              <a:rPr lang="de-DE" dirty="0"/>
              <a:t>Sieb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F547674-3CE1-418D-8B1B-D4C3A91445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660900" y="1239838"/>
            <a:ext cx="4033468" cy="3348000"/>
          </a:xfrm>
          <a:solidFill>
            <a:schemeClr val="bg2"/>
          </a:solidFill>
        </p:spPr>
        <p:txBody>
          <a:bodyPr lIns="108000" tIns="72000" rIns="108000" bIns="72000"/>
          <a:lstStyle/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  <a:p>
            <a:pPr lvl="6"/>
            <a:r>
              <a:rPr lang="de-DE" dirty="0"/>
              <a:t>Sechste Ebene</a:t>
            </a:r>
          </a:p>
          <a:p>
            <a:pPr lvl="7"/>
            <a:r>
              <a:rPr lang="de-DE" dirty="0"/>
              <a:t>Sieb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</p:spTree>
    <p:extLst>
      <p:ext uri="{BB962C8B-B14F-4D97-AF65-F5344CB8AC3E}">
        <p14:creationId xmlns:p14="http://schemas.microsoft.com/office/powerpoint/2010/main" val="29121990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 Spalten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757C59C6-B85F-4619-B2DA-0BF13B15B8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8199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757C59C6-B85F-4619-B2DA-0BF13B15B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hteck 14" hidden="1">
            <a:extLst>
              <a:ext uri="{FF2B5EF4-FFF2-40B4-BE49-F238E27FC236}">
                <a16:creationId xmlns:a16="http://schemas.microsoft.com/office/drawing/2014/main" id="{D4F48016-23DA-4D7B-B5B6-27C756BFCAD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02894CD-E67D-4E5D-B347-CEEEAFDAC7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9263" y="400266"/>
            <a:ext cx="7110000" cy="246221"/>
          </a:xfrm>
        </p:spPr>
        <p:txBody>
          <a:bodyPr anchor="b" anchorCtr="0"/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83EA4DE-7C6D-4498-A562-AFF2B1497F9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de-DE" dirty="0"/>
              <a:t>TT.MM.JJJJ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BB03A6F-A385-4CA1-9E37-3D4EC2815F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/>
              <a:t>Fußzeil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919A7FB-E91A-43A2-AC21-6BAD613ED5E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49264" y="1239838"/>
            <a:ext cx="403200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  <a:p>
            <a:pPr lvl="6"/>
            <a:r>
              <a:rPr lang="de-DE" dirty="0"/>
              <a:t>Sechste Ebene</a:t>
            </a:r>
          </a:p>
          <a:p>
            <a:pPr lvl="7"/>
            <a:r>
              <a:rPr lang="de-DE" dirty="0"/>
              <a:t>Siebte Ebene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7CC1D76-4F38-4C24-A6D1-5FFBFB89E9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449263" y="242307"/>
            <a:ext cx="7110000" cy="12311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defRPr sz="800" b="0" cap="none" baseline="0"/>
            </a:lvl1pPr>
            <a:lvl2pPr>
              <a:defRPr sz="800" b="0"/>
            </a:lvl2pPr>
            <a:lvl3pPr>
              <a:defRPr sz="800" b="0"/>
            </a:lvl3pPr>
            <a:lvl4pPr>
              <a:defRPr sz="800" b="0"/>
            </a:lvl4pPr>
            <a:lvl5pPr>
              <a:defRPr sz="800" b="0"/>
            </a:lvl5pPr>
          </a:lstStyle>
          <a:p>
            <a:pPr lvl="0"/>
            <a:r>
              <a:rPr lang="de-DE" dirty="0"/>
              <a:t>Kapitelüberschrift hinzufügen</a:t>
            </a:r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F3F1C607-D25A-49A4-9B79-3447DDCF5A0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660900" y="1239838"/>
            <a:ext cx="4032250" cy="3348037"/>
          </a:xfrm>
          <a:solidFill>
            <a:schemeClr val="bg2"/>
          </a:solidFill>
        </p:spPr>
        <p:txBody>
          <a:bodyPr lIns="108000" tIns="72000" rIns="108000" bIns="72000"/>
          <a:lstStyle>
            <a:lvl1pPr>
              <a:spcBef>
                <a:spcPts val="0"/>
              </a:spcBef>
              <a:defRPr/>
            </a:lvl1pPr>
          </a:lstStyle>
          <a:p>
            <a:r>
              <a:rPr lang="de-DE" dirty="0"/>
              <a:t>Durch Klicken auf das Symbol </a:t>
            </a:r>
            <a:br>
              <a:rPr lang="de-DE" dirty="0"/>
            </a:br>
            <a:r>
              <a:rPr lang="de-DE" dirty="0"/>
              <a:t>ein Bild einfügen</a:t>
            </a:r>
          </a:p>
        </p:txBody>
      </p:sp>
    </p:spTree>
    <p:extLst>
      <p:ext uri="{BB962C8B-B14F-4D97-AF65-F5344CB8AC3E}">
        <p14:creationId xmlns:p14="http://schemas.microsoft.com/office/powerpoint/2010/main" val="13381726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9494226-E554-4FC7-B318-8585A96BFA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60789700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3" imgW="306" imgH="306" progId="TCLayout.ActiveDocument.1">
                  <p:embed/>
                </p:oleObj>
              </mc:Choice>
              <mc:Fallback>
                <p:oleObj name="think-cell Folie" r:id="rId23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40A4461-6924-4C46-A0DC-4098673831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3E8200DA-6877-4A0D-B76D-424E7DEE2674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1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70A3F1E2-0EAB-4319-8224-9763438BA8A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0" y="0"/>
            <a:ext cx="9144000" cy="900000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noAutofit/>
          </a:bodyPr>
          <a:lstStyle/>
          <a:p>
            <a:endParaRPr lang="de-DE" sz="4000" dirty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49263" y="400266"/>
            <a:ext cx="7110000" cy="24622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e-DE" dirty="0"/>
              <a:t>Folientitel hinzufüg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49263" y="1239838"/>
            <a:ext cx="8243887" cy="33480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Überschrift</a:t>
            </a:r>
          </a:p>
          <a:p>
            <a:pPr lvl="1"/>
            <a:r>
              <a:rPr lang="de-DE" dirty="0"/>
              <a:t>Erste Ebene</a:t>
            </a:r>
          </a:p>
          <a:p>
            <a:pPr lvl="2"/>
            <a:r>
              <a:rPr lang="de-DE" dirty="0"/>
              <a:t>Zweite Ebene</a:t>
            </a:r>
          </a:p>
          <a:p>
            <a:pPr lvl="3"/>
            <a:r>
              <a:rPr lang="de-DE" dirty="0"/>
              <a:t>Dritte Ebene</a:t>
            </a:r>
          </a:p>
          <a:p>
            <a:pPr lvl="4"/>
            <a:r>
              <a:rPr lang="de-DE" dirty="0"/>
              <a:t>Vierte Ebene</a:t>
            </a:r>
          </a:p>
          <a:p>
            <a:pPr lvl="5"/>
            <a:r>
              <a:rPr lang="de-DE" dirty="0"/>
              <a:t>Fünfte Ebene</a:t>
            </a:r>
          </a:p>
          <a:p>
            <a:pPr lvl="6"/>
            <a:r>
              <a:rPr lang="de-DE" dirty="0"/>
              <a:t>Sechste Ebene</a:t>
            </a:r>
          </a:p>
          <a:p>
            <a:pPr lvl="7"/>
            <a:r>
              <a:rPr lang="de-DE" dirty="0"/>
              <a:t>Sieb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450851" y="4821794"/>
            <a:ext cx="877887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T.MM.JJJJ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028950" y="4821794"/>
            <a:ext cx="30861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ußzeile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F6AD4BA7-ACB0-45B2-85B3-66C61DC26466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7741938" y="212143"/>
            <a:ext cx="951212" cy="475714"/>
            <a:chOff x="7856284" y="172641"/>
            <a:chExt cx="836866" cy="418528"/>
          </a:xfrm>
        </p:grpSpPr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5A8551D7-1F99-4EC6-B804-51274A3F2244}"/>
                </a:ext>
              </a:extLst>
            </p:cNvPr>
            <p:cNvSpPr/>
            <p:nvPr/>
          </p:nvSpPr>
          <p:spPr bwMode="gray">
            <a:xfrm>
              <a:off x="7856284" y="172641"/>
              <a:ext cx="453901" cy="418528"/>
            </a:xfrm>
            <a:custGeom>
              <a:avLst/>
              <a:gdLst>
                <a:gd name="connsiteX0" fmla="*/ 418433 w 453901"/>
                <a:gd name="connsiteY0" fmla="*/ 0 h 418528"/>
                <a:gd name="connsiteX1" fmla="*/ 0 w 453901"/>
                <a:gd name="connsiteY1" fmla="*/ 0 h 418528"/>
                <a:gd name="connsiteX2" fmla="*/ 0 w 453901"/>
                <a:gd name="connsiteY2" fmla="*/ 418529 h 418528"/>
                <a:gd name="connsiteX3" fmla="*/ 418433 w 453901"/>
                <a:gd name="connsiteY3" fmla="*/ 418529 h 418528"/>
                <a:gd name="connsiteX4" fmla="*/ 418433 w 453901"/>
                <a:gd name="connsiteY4" fmla="*/ 0 h 418528"/>
                <a:gd name="connsiteX5" fmla="*/ 418433 w 453901"/>
                <a:gd name="connsiteY5" fmla="*/ 0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3901" h="418528">
                  <a:moveTo>
                    <a:pt x="418433" y="0"/>
                  </a:moveTo>
                  <a:lnTo>
                    <a:pt x="0" y="0"/>
                  </a:lnTo>
                  <a:lnTo>
                    <a:pt x="0" y="418529"/>
                  </a:lnTo>
                  <a:lnTo>
                    <a:pt x="418433" y="418529"/>
                  </a:lnTo>
                  <a:cubicBezTo>
                    <a:pt x="465677" y="283750"/>
                    <a:pt x="465773" y="134874"/>
                    <a:pt x="418433" y="0"/>
                  </a:cubicBezTo>
                  <a:lnTo>
                    <a:pt x="418433" y="0"/>
                  </a:lnTo>
                  <a:close/>
                </a:path>
              </a:pathLst>
            </a:custGeom>
            <a:solidFill>
              <a:srgbClr val="CAD2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569CC020-A900-48BB-A37B-84D44B7A3615}"/>
                </a:ext>
              </a:extLst>
            </p:cNvPr>
            <p:cNvSpPr/>
            <p:nvPr/>
          </p:nvSpPr>
          <p:spPr bwMode="gray">
            <a:xfrm>
              <a:off x="8274717" y="172641"/>
              <a:ext cx="418433" cy="418528"/>
            </a:xfrm>
            <a:custGeom>
              <a:avLst/>
              <a:gdLst>
                <a:gd name="connsiteX0" fmla="*/ 418433 w 418433"/>
                <a:gd name="connsiteY0" fmla="*/ 418529 h 418528"/>
                <a:gd name="connsiteX1" fmla="*/ 0 w 418433"/>
                <a:gd name="connsiteY1" fmla="*/ 418529 h 418528"/>
                <a:gd name="connsiteX2" fmla="*/ 0 w 418433"/>
                <a:gd name="connsiteY2" fmla="*/ 0 h 418528"/>
                <a:gd name="connsiteX3" fmla="*/ 418433 w 418433"/>
                <a:gd name="connsiteY3" fmla="*/ 0 h 418528"/>
                <a:gd name="connsiteX4" fmla="*/ 418433 w 418433"/>
                <a:gd name="connsiteY4" fmla="*/ 418529 h 418528"/>
                <a:gd name="connsiteX5" fmla="*/ 418433 w 418433"/>
                <a:gd name="connsiteY5" fmla="*/ 418529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8433" h="418528">
                  <a:moveTo>
                    <a:pt x="418433" y="418529"/>
                  </a:moveTo>
                  <a:lnTo>
                    <a:pt x="0" y="418529"/>
                  </a:lnTo>
                  <a:cubicBezTo>
                    <a:pt x="47244" y="283750"/>
                    <a:pt x="47339" y="134969"/>
                    <a:pt x="0" y="0"/>
                  </a:cubicBezTo>
                  <a:lnTo>
                    <a:pt x="418433" y="0"/>
                  </a:lnTo>
                  <a:lnTo>
                    <a:pt x="418433" y="418529"/>
                  </a:lnTo>
                  <a:lnTo>
                    <a:pt x="418433" y="418529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CFA5F3A3-94BC-47DD-BF05-67D2B139E40A}"/>
                </a:ext>
              </a:extLst>
            </p:cNvPr>
            <p:cNvSpPr/>
            <p:nvPr/>
          </p:nvSpPr>
          <p:spPr bwMode="gray">
            <a:xfrm>
              <a:off x="8540655" y="242549"/>
              <a:ext cx="117896" cy="139641"/>
            </a:xfrm>
            <a:custGeom>
              <a:avLst/>
              <a:gdLst>
                <a:gd name="connsiteX0" fmla="*/ 109919 w 117896"/>
                <a:gd name="connsiteY0" fmla="*/ 6863 h 139641"/>
                <a:gd name="connsiteX1" fmla="*/ 109156 w 117896"/>
                <a:gd name="connsiteY1" fmla="*/ 5 h 139641"/>
                <a:gd name="connsiteX2" fmla="*/ 90488 w 117896"/>
                <a:gd name="connsiteY2" fmla="*/ 5 h 139641"/>
                <a:gd name="connsiteX3" fmla="*/ 78677 w 117896"/>
                <a:gd name="connsiteY3" fmla="*/ 5720 h 139641"/>
                <a:gd name="connsiteX4" fmla="*/ 26479 w 117896"/>
                <a:gd name="connsiteY4" fmla="*/ 62298 h 139641"/>
                <a:gd name="connsiteX5" fmla="*/ 26384 w 117896"/>
                <a:gd name="connsiteY5" fmla="*/ 6958 h 139641"/>
                <a:gd name="connsiteX6" fmla="*/ 19526 w 117896"/>
                <a:gd name="connsiteY6" fmla="*/ 100 h 139641"/>
                <a:gd name="connsiteX7" fmla="*/ 6858 w 117896"/>
                <a:gd name="connsiteY7" fmla="*/ 100 h 139641"/>
                <a:gd name="connsiteX8" fmla="*/ 0 w 117896"/>
                <a:gd name="connsiteY8" fmla="*/ 6958 h 139641"/>
                <a:gd name="connsiteX9" fmla="*/ 0 w 117896"/>
                <a:gd name="connsiteY9" fmla="*/ 132783 h 139641"/>
                <a:gd name="connsiteX10" fmla="*/ 6858 w 117896"/>
                <a:gd name="connsiteY10" fmla="*/ 139641 h 139641"/>
                <a:gd name="connsiteX11" fmla="*/ 19622 w 117896"/>
                <a:gd name="connsiteY11" fmla="*/ 139641 h 139641"/>
                <a:gd name="connsiteX12" fmla="*/ 26479 w 117896"/>
                <a:gd name="connsiteY12" fmla="*/ 132783 h 139641"/>
                <a:gd name="connsiteX13" fmla="*/ 26479 w 117896"/>
                <a:gd name="connsiteY13" fmla="*/ 99922 h 139641"/>
                <a:gd name="connsiteX14" fmla="*/ 49625 w 117896"/>
                <a:gd name="connsiteY14" fmla="*/ 74871 h 139641"/>
                <a:gd name="connsiteX15" fmla="*/ 85439 w 117896"/>
                <a:gd name="connsiteY15" fmla="*/ 132783 h 139641"/>
                <a:gd name="connsiteX16" fmla="*/ 94869 w 117896"/>
                <a:gd name="connsiteY16" fmla="*/ 139641 h 139641"/>
                <a:gd name="connsiteX17" fmla="*/ 114014 w 117896"/>
                <a:gd name="connsiteY17" fmla="*/ 139641 h 139641"/>
                <a:gd name="connsiteX18" fmla="*/ 116681 w 117896"/>
                <a:gd name="connsiteY18" fmla="*/ 132783 h 139641"/>
                <a:gd name="connsiteX19" fmla="*/ 67247 w 117896"/>
                <a:gd name="connsiteY19" fmla="*/ 55154 h 139641"/>
                <a:gd name="connsiteX20" fmla="*/ 109919 w 117896"/>
                <a:gd name="connsiteY20" fmla="*/ 6863 h 139641"/>
                <a:gd name="connsiteX21" fmla="*/ 109919 w 117896"/>
                <a:gd name="connsiteY21" fmla="*/ 6863 h 13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7896" h="139641">
                  <a:moveTo>
                    <a:pt x="109919" y="6863"/>
                  </a:moveTo>
                  <a:cubicBezTo>
                    <a:pt x="113348" y="3053"/>
                    <a:pt x="112967" y="5"/>
                    <a:pt x="109156" y="5"/>
                  </a:cubicBezTo>
                  <a:lnTo>
                    <a:pt x="90488" y="5"/>
                  </a:lnTo>
                  <a:cubicBezTo>
                    <a:pt x="86677" y="5"/>
                    <a:pt x="84773" y="-376"/>
                    <a:pt x="78677" y="5720"/>
                  </a:cubicBezTo>
                  <a:lnTo>
                    <a:pt x="26479" y="62298"/>
                  </a:lnTo>
                  <a:lnTo>
                    <a:pt x="26384" y="6958"/>
                  </a:lnTo>
                  <a:cubicBezTo>
                    <a:pt x="26384" y="3148"/>
                    <a:pt x="23336" y="100"/>
                    <a:pt x="19526" y="100"/>
                  </a:cubicBezTo>
                  <a:lnTo>
                    <a:pt x="6858" y="100"/>
                  </a:lnTo>
                  <a:cubicBezTo>
                    <a:pt x="3048" y="100"/>
                    <a:pt x="0" y="3148"/>
                    <a:pt x="0" y="6958"/>
                  </a:cubicBezTo>
                  <a:lnTo>
                    <a:pt x="0" y="132783"/>
                  </a:lnTo>
                  <a:cubicBezTo>
                    <a:pt x="0" y="136593"/>
                    <a:pt x="3048" y="139641"/>
                    <a:pt x="6858" y="139641"/>
                  </a:cubicBezTo>
                  <a:lnTo>
                    <a:pt x="19622" y="139641"/>
                  </a:lnTo>
                  <a:cubicBezTo>
                    <a:pt x="23431" y="139641"/>
                    <a:pt x="26479" y="136593"/>
                    <a:pt x="26479" y="132783"/>
                  </a:cubicBezTo>
                  <a:lnTo>
                    <a:pt x="26479" y="99922"/>
                  </a:lnTo>
                  <a:lnTo>
                    <a:pt x="49625" y="74871"/>
                  </a:lnTo>
                  <a:lnTo>
                    <a:pt x="85439" y="132783"/>
                  </a:lnTo>
                  <a:cubicBezTo>
                    <a:pt x="87725" y="136593"/>
                    <a:pt x="91059" y="139641"/>
                    <a:pt x="94869" y="139641"/>
                  </a:cubicBezTo>
                  <a:lnTo>
                    <a:pt x="114014" y="139641"/>
                  </a:lnTo>
                  <a:cubicBezTo>
                    <a:pt x="117824" y="139641"/>
                    <a:pt x="119063" y="136593"/>
                    <a:pt x="116681" y="132783"/>
                  </a:cubicBezTo>
                  <a:lnTo>
                    <a:pt x="67247" y="55154"/>
                  </a:lnTo>
                  <a:lnTo>
                    <a:pt x="109919" y="6863"/>
                  </a:lnTo>
                  <a:lnTo>
                    <a:pt x="109919" y="68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F3C7B660-75FF-4282-8844-67E7A16569E6}"/>
                </a:ext>
              </a:extLst>
            </p:cNvPr>
            <p:cNvSpPr/>
            <p:nvPr/>
          </p:nvSpPr>
          <p:spPr bwMode="gray">
            <a:xfrm>
              <a:off x="8344440" y="242459"/>
              <a:ext cx="27717" cy="139541"/>
            </a:xfrm>
            <a:custGeom>
              <a:avLst/>
              <a:gdLst>
                <a:gd name="connsiteX0" fmla="*/ 0 w 27717"/>
                <a:gd name="connsiteY0" fmla="*/ 132683 h 139541"/>
                <a:gd name="connsiteX1" fmla="*/ 6858 w 27717"/>
                <a:gd name="connsiteY1" fmla="*/ 139541 h 139541"/>
                <a:gd name="connsiteX2" fmla="*/ 20765 w 27717"/>
                <a:gd name="connsiteY2" fmla="*/ 139541 h 139541"/>
                <a:gd name="connsiteX3" fmla="*/ 27623 w 27717"/>
                <a:gd name="connsiteY3" fmla="*/ 132683 h 139541"/>
                <a:gd name="connsiteX4" fmla="*/ 27718 w 27717"/>
                <a:gd name="connsiteY4" fmla="*/ 6858 h 139541"/>
                <a:gd name="connsiteX5" fmla="*/ 20860 w 27717"/>
                <a:gd name="connsiteY5" fmla="*/ 0 h 139541"/>
                <a:gd name="connsiteX6" fmla="*/ 6953 w 27717"/>
                <a:gd name="connsiteY6" fmla="*/ 0 h 139541"/>
                <a:gd name="connsiteX7" fmla="*/ 95 w 27717"/>
                <a:gd name="connsiteY7" fmla="*/ 6858 h 139541"/>
                <a:gd name="connsiteX8" fmla="*/ 0 w 27717"/>
                <a:gd name="connsiteY8" fmla="*/ 132683 h 139541"/>
                <a:gd name="connsiteX9" fmla="*/ 0 w 27717"/>
                <a:gd name="connsiteY9" fmla="*/ 132683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717" h="139541">
                  <a:moveTo>
                    <a:pt x="0" y="132683"/>
                  </a:moveTo>
                  <a:cubicBezTo>
                    <a:pt x="0" y="136493"/>
                    <a:pt x="3048" y="139541"/>
                    <a:pt x="6858" y="139541"/>
                  </a:cubicBezTo>
                  <a:lnTo>
                    <a:pt x="20765" y="139541"/>
                  </a:lnTo>
                  <a:cubicBezTo>
                    <a:pt x="24575" y="139541"/>
                    <a:pt x="27623" y="136493"/>
                    <a:pt x="27623" y="132683"/>
                  </a:cubicBezTo>
                  <a:lnTo>
                    <a:pt x="27718" y="6858"/>
                  </a:lnTo>
                  <a:cubicBezTo>
                    <a:pt x="27718" y="3048"/>
                    <a:pt x="24670" y="0"/>
                    <a:pt x="20860" y="0"/>
                  </a:cubicBezTo>
                  <a:lnTo>
                    <a:pt x="6953" y="0"/>
                  </a:lnTo>
                  <a:cubicBezTo>
                    <a:pt x="3143" y="0"/>
                    <a:pt x="95" y="3048"/>
                    <a:pt x="95" y="6858"/>
                  </a:cubicBezTo>
                  <a:lnTo>
                    <a:pt x="0" y="132683"/>
                  </a:lnTo>
                  <a:lnTo>
                    <a:pt x="0" y="13268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A843C60F-40C5-44D4-89D0-652C32CA0F4B}"/>
                </a:ext>
              </a:extLst>
            </p:cNvPr>
            <p:cNvSpPr/>
            <p:nvPr/>
          </p:nvSpPr>
          <p:spPr bwMode="gray">
            <a:xfrm>
              <a:off x="8401114" y="242554"/>
              <a:ext cx="110490" cy="139541"/>
            </a:xfrm>
            <a:custGeom>
              <a:avLst/>
              <a:gdLst>
                <a:gd name="connsiteX0" fmla="*/ 82963 w 110490"/>
                <a:gd name="connsiteY0" fmla="*/ 6858 h 139541"/>
                <a:gd name="connsiteX1" fmla="*/ 89821 w 110490"/>
                <a:gd name="connsiteY1" fmla="*/ 0 h 139541"/>
                <a:gd name="connsiteX2" fmla="*/ 103632 w 110490"/>
                <a:gd name="connsiteY2" fmla="*/ 0 h 139541"/>
                <a:gd name="connsiteX3" fmla="*/ 110490 w 110490"/>
                <a:gd name="connsiteY3" fmla="*/ 6858 h 139541"/>
                <a:gd name="connsiteX4" fmla="*/ 110490 w 110490"/>
                <a:gd name="connsiteY4" fmla="*/ 132683 h 139541"/>
                <a:gd name="connsiteX5" fmla="*/ 103632 w 110490"/>
                <a:gd name="connsiteY5" fmla="*/ 139541 h 139541"/>
                <a:gd name="connsiteX6" fmla="*/ 89916 w 110490"/>
                <a:gd name="connsiteY6" fmla="*/ 139541 h 139541"/>
                <a:gd name="connsiteX7" fmla="*/ 83058 w 110490"/>
                <a:gd name="connsiteY7" fmla="*/ 132683 h 139541"/>
                <a:gd name="connsiteX8" fmla="*/ 82963 w 110490"/>
                <a:gd name="connsiteY8" fmla="*/ 80867 h 139541"/>
                <a:gd name="connsiteX9" fmla="*/ 27527 w 110490"/>
                <a:gd name="connsiteY9" fmla="*/ 80867 h 139541"/>
                <a:gd name="connsiteX10" fmla="*/ 27527 w 110490"/>
                <a:gd name="connsiteY10" fmla="*/ 132683 h 139541"/>
                <a:gd name="connsiteX11" fmla="*/ 20669 w 110490"/>
                <a:gd name="connsiteY11" fmla="*/ 139541 h 139541"/>
                <a:gd name="connsiteX12" fmla="*/ 6858 w 110490"/>
                <a:gd name="connsiteY12" fmla="*/ 139541 h 139541"/>
                <a:gd name="connsiteX13" fmla="*/ 0 w 110490"/>
                <a:gd name="connsiteY13" fmla="*/ 132683 h 139541"/>
                <a:gd name="connsiteX14" fmla="*/ 0 w 110490"/>
                <a:gd name="connsiteY14" fmla="*/ 6858 h 139541"/>
                <a:gd name="connsiteX15" fmla="*/ 6858 w 110490"/>
                <a:gd name="connsiteY15" fmla="*/ 0 h 139541"/>
                <a:gd name="connsiteX16" fmla="*/ 20669 w 110490"/>
                <a:gd name="connsiteY16" fmla="*/ 0 h 139541"/>
                <a:gd name="connsiteX17" fmla="*/ 27527 w 110490"/>
                <a:gd name="connsiteY17" fmla="*/ 6858 h 139541"/>
                <a:gd name="connsiteX18" fmla="*/ 27432 w 110490"/>
                <a:gd name="connsiteY18" fmla="*/ 57436 h 139541"/>
                <a:gd name="connsiteX19" fmla="*/ 82868 w 110490"/>
                <a:gd name="connsiteY19" fmla="*/ 57436 h 139541"/>
                <a:gd name="connsiteX20" fmla="*/ 82963 w 110490"/>
                <a:gd name="connsiteY20" fmla="*/ 6858 h 139541"/>
                <a:gd name="connsiteX21" fmla="*/ 82963 w 110490"/>
                <a:gd name="connsiteY21" fmla="*/ 6858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0490" h="139541">
                  <a:moveTo>
                    <a:pt x="82963" y="6858"/>
                  </a:moveTo>
                  <a:cubicBezTo>
                    <a:pt x="82963" y="3048"/>
                    <a:pt x="86011" y="0"/>
                    <a:pt x="89821" y="0"/>
                  </a:cubicBezTo>
                  <a:lnTo>
                    <a:pt x="103632" y="0"/>
                  </a:lnTo>
                  <a:cubicBezTo>
                    <a:pt x="107442" y="0"/>
                    <a:pt x="110490" y="3048"/>
                    <a:pt x="110490" y="6858"/>
                  </a:cubicBezTo>
                  <a:lnTo>
                    <a:pt x="110490" y="132683"/>
                  </a:lnTo>
                  <a:cubicBezTo>
                    <a:pt x="110490" y="136493"/>
                    <a:pt x="107442" y="139541"/>
                    <a:pt x="103632" y="139541"/>
                  </a:cubicBezTo>
                  <a:lnTo>
                    <a:pt x="89916" y="139541"/>
                  </a:lnTo>
                  <a:cubicBezTo>
                    <a:pt x="86106" y="139541"/>
                    <a:pt x="83058" y="136493"/>
                    <a:pt x="83058" y="132683"/>
                  </a:cubicBezTo>
                  <a:lnTo>
                    <a:pt x="82963" y="80867"/>
                  </a:lnTo>
                  <a:lnTo>
                    <a:pt x="27527" y="80867"/>
                  </a:lnTo>
                  <a:lnTo>
                    <a:pt x="27527" y="132683"/>
                  </a:lnTo>
                  <a:cubicBezTo>
                    <a:pt x="27527" y="136493"/>
                    <a:pt x="24479" y="139541"/>
                    <a:pt x="20669" y="139541"/>
                  </a:cubicBezTo>
                  <a:lnTo>
                    <a:pt x="6858" y="139541"/>
                  </a:lnTo>
                  <a:cubicBezTo>
                    <a:pt x="3048" y="139541"/>
                    <a:pt x="0" y="136493"/>
                    <a:pt x="0" y="132683"/>
                  </a:cubicBezTo>
                  <a:lnTo>
                    <a:pt x="0" y="6858"/>
                  </a:lnTo>
                  <a:cubicBezTo>
                    <a:pt x="0" y="3048"/>
                    <a:pt x="3048" y="0"/>
                    <a:pt x="6858" y="0"/>
                  </a:cubicBezTo>
                  <a:lnTo>
                    <a:pt x="20669" y="0"/>
                  </a:lnTo>
                  <a:cubicBezTo>
                    <a:pt x="24479" y="0"/>
                    <a:pt x="27527" y="3048"/>
                    <a:pt x="27527" y="6858"/>
                  </a:cubicBezTo>
                  <a:lnTo>
                    <a:pt x="27432" y="57436"/>
                  </a:lnTo>
                  <a:lnTo>
                    <a:pt x="82868" y="57436"/>
                  </a:lnTo>
                  <a:lnTo>
                    <a:pt x="82963" y="6858"/>
                  </a:lnTo>
                  <a:lnTo>
                    <a:pt x="82963" y="68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E31834DF-3C4F-48B5-9BAB-7752882E50AE}"/>
                </a:ext>
              </a:extLst>
            </p:cNvPr>
            <p:cNvSpPr/>
            <p:nvPr/>
          </p:nvSpPr>
          <p:spPr bwMode="gray">
            <a:xfrm>
              <a:off x="7974203" y="242840"/>
              <a:ext cx="91059" cy="278511"/>
            </a:xfrm>
            <a:custGeom>
              <a:avLst/>
              <a:gdLst>
                <a:gd name="connsiteX0" fmla="*/ 91059 w 91059"/>
                <a:gd name="connsiteY0" fmla="*/ 0 h 278511"/>
                <a:gd name="connsiteX1" fmla="*/ 0 w 91059"/>
                <a:gd name="connsiteY1" fmla="*/ 139256 h 278511"/>
                <a:gd name="connsiteX2" fmla="*/ 91059 w 91059"/>
                <a:gd name="connsiteY2" fmla="*/ 278511 h 278511"/>
                <a:gd name="connsiteX3" fmla="*/ 91059 w 91059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9" h="278511">
                  <a:moveTo>
                    <a:pt x="91059" y="0"/>
                  </a:moveTo>
                  <a:lnTo>
                    <a:pt x="0" y="139256"/>
                  </a:lnTo>
                  <a:lnTo>
                    <a:pt x="91059" y="278511"/>
                  </a:lnTo>
                  <a:lnTo>
                    <a:pt x="91059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E2710CD1-0826-4C59-9459-F18825F6903A}"/>
                </a:ext>
              </a:extLst>
            </p:cNvPr>
            <p:cNvSpPr/>
            <p:nvPr/>
          </p:nvSpPr>
          <p:spPr bwMode="gray">
            <a:xfrm>
              <a:off x="8065262" y="242840"/>
              <a:ext cx="91058" cy="278511"/>
            </a:xfrm>
            <a:custGeom>
              <a:avLst/>
              <a:gdLst>
                <a:gd name="connsiteX0" fmla="*/ 0 w 91058"/>
                <a:gd name="connsiteY0" fmla="*/ 0 h 278511"/>
                <a:gd name="connsiteX1" fmla="*/ 91059 w 91058"/>
                <a:gd name="connsiteY1" fmla="*/ 139256 h 278511"/>
                <a:gd name="connsiteX2" fmla="*/ 0 w 91058"/>
                <a:gd name="connsiteY2" fmla="*/ 278511 h 278511"/>
                <a:gd name="connsiteX3" fmla="*/ 0 w 91058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8" h="278511">
                  <a:moveTo>
                    <a:pt x="0" y="0"/>
                  </a:moveTo>
                  <a:lnTo>
                    <a:pt x="91059" y="139256"/>
                  </a:lnTo>
                  <a:lnTo>
                    <a:pt x="0" y="2785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4" name="Textfeld 23">
            <a:extLst>
              <a:ext uri="{FF2B5EF4-FFF2-40B4-BE49-F238E27FC236}">
                <a16:creationId xmlns:a16="http://schemas.microsoft.com/office/drawing/2014/main" id="{058CF539-B23E-4BD2-B4ED-407E3F88C054}"/>
              </a:ext>
            </a:extLst>
          </p:cNvPr>
          <p:cNvSpPr txBox="1"/>
          <p:nvPr userDrawn="1"/>
        </p:nvSpPr>
        <p:spPr bwMode="gray">
          <a:xfrm>
            <a:off x="8217542" y="4821794"/>
            <a:ext cx="47560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09ACF905-E6AB-4F18-8FD9-05C1F1B89C5F}" type="slidenum">
              <a:rPr lang="de-DE" sz="800" smtClean="0"/>
              <a:pPr algn="r"/>
              <a:t>‹Nr.›</a:t>
            </a:fld>
            <a:endParaRPr lang="de-DE" sz="800" dirty="0"/>
          </a:p>
        </p:txBody>
      </p:sp>
      <p:sp>
        <p:nvSpPr>
          <p:cNvPr id="26" name="Gleichschenkliges Dreieck 25">
            <a:extLst>
              <a:ext uri="{FF2B5EF4-FFF2-40B4-BE49-F238E27FC236}">
                <a16:creationId xmlns:a16="http://schemas.microsoft.com/office/drawing/2014/main" id="{4CF24CCE-A7B6-4EED-B681-30EEC164C9DD}"/>
              </a:ext>
            </a:extLst>
          </p:cNvPr>
          <p:cNvSpPr>
            <a:spLocks noChangeAspect="1"/>
          </p:cNvSpPr>
          <p:nvPr userDrawn="1"/>
        </p:nvSpPr>
        <p:spPr bwMode="gray">
          <a:xfrm flipV="1">
            <a:off x="344439" y="900000"/>
            <a:ext cx="215995" cy="108000"/>
          </a:xfrm>
          <a:prstGeom prst="triangle">
            <a:avLst/>
          </a:prstGeom>
          <a:solidFill>
            <a:schemeClr val="bg2"/>
          </a:solidFill>
        </p:spPr>
        <p:txBody>
          <a:bodyPr wrap="square" rtlCol="0">
            <a:noAutofit/>
          </a:bodyPr>
          <a:lstStyle/>
          <a:p>
            <a:endParaRPr lang="de-DE" sz="4000" dirty="0">
              <a:solidFill>
                <a:srgbClr val="333333"/>
              </a:solidFill>
              <a:latin typeface="Arial"/>
              <a:cs typeface="Arial"/>
            </a:endParaRP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3B86E61B-1555-4B54-8C51-D0C2BAEE3892}"/>
              </a:ext>
            </a:extLst>
          </p:cNvPr>
          <p:cNvGrpSpPr/>
          <p:nvPr userDrawn="1"/>
        </p:nvGrpSpPr>
        <p:grpSpPr>
          <a:xfrm>
            <a:off x="-275432" y="-257175"/>
            <a:ext cx="9694864" cy="5657850"/>
            <a:chOff x="-275432" y="-257175"/>
            <a:chExt cx="9694864" cy="5657850"/>
          </a:xfrm>
        </p:grpSpPr>
        <p:cxnSp>
          <p:nvCxnSpPr>
            <p:cNvPr id="10" name="Gerader Verbinder 9">
              <a:extLst>
                <a:ext uri="{FF2B5EF4-FFF2-40B4-BE49-F238E27FC236}">
                  <a16:creationId xmlns:a16="http://schemas.microsoft.com/office/drawing/2014/main" id="{DB04EBDB-6A7B-41F4-9D21-500C86167CBD}"/>
                </a:ext>
              </a:extLst>
            </p:cNvPr>
            <p:cNvCxnSpPr/>
            <p:nvPr userDrawn="1"/>
          </p:nvCxnSpPr>
          <p:spPr>
            <a:xfrm flipV="1">
              <a:off x="449263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24C53E18-2E52-4A5A-BFE9-6E211A587297}"/>
                </a:ext>
              </a:extLst>
            </p:cNvPr>
            <p:cNvCxnSpPr/>
            <p:nvPr userDrawn="1"/>
          </p:nvCxnSpPr>
          <p:spPr>
            <a:xfrm flipV="1">
              <a:off x="44831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46A5D2C9-8E80-4F2D-99C8-9C39CD844AC8}"/>
                </a:ext>
              </a:extLst>
            </p:cNvPr>
            <p:cNvCxnSpPr/>
            <p:nvPr userDrawn="1"/>
          </p:nvCxnSpPr>
          <p:spPr>
            <a:xfrm flipV="1">
              <a:off x="466090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044A3345-E6E7-4E61-8442-D39B7168205E}"/>
                </a:ext>
              </a:extLst>
            </p:cNvPr>
            <p:cNvCxnSpPr/>
            <p:nvPr userDrawn="1"/>
          </p:nvCxnSpPr>
          <p:spPr>
            <a:xfrm flipV="1">
              <a:off x="8693150" y="-257175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31827FFE-80B9-477D-96AE-EAAD5AAE8410}"/>
                </a:ext>
              </a:extLst>
            </p:cNvPr>
            <p:cNvCxnSpPr/>
            <p:nvPr userDrawn="1"/>
          </p:nvCxnSpPr>
          <p:spPr>
            <a:xfrm flipV="1">
              <a:off x="449263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B0D40870-2C76-4F71-BD42-6EFF05528E03}"/>
                </a:ext>
              </a:extLst>
            </p:cNvPr>
            <p:cNvCxnSpPr/>
            <p:nvPr userDrawn="1"/>
          </p:nvCxnSpPr>
          <p:spPr>
            <a:xfrm flipV="1">
              <a:off x="44831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3F4B1C61-34C8-45DA-AB77-603DA8383E83}"/>
                </a:ext>
              </a:extLst>
            </p:cNvPr>
            <p:cNvCxnSpPr/>
            <p:nvPr userDrawn="1"/>
          </p:nvCxnSpPr>
          <p:spPr>
            <a:xfrm flipV="1">
              <a:off x="466090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9A6AC9FD-F403-4379-8988-3954EBD52BDF}"/>
                </a:ext>
              </a:extLst>
            </p:cNvPr>
            <p:cNvCxnSpPr/>
            <p:nvPr userDrawn="1"/>
          </p:nvCxnSpPr>
          <p:spPr>
            <a:xfrm flipV="1">
              <a:off x="8693150" y="5276850"/>
              <a:ext cx="0" cy="123825"/>
            </a:xfrm>
            <a:prstGeom prst="line">
              <a:avLst/>
            </a:prstGeom>
            <a:ln w="9525" cap="rnd">
              <a:solidFill>
                <a:schemeClr val="accent4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88E6779E-0635-4B7F-803D-E85697035A83}"/>
                </a:ext>
              </a:extLst>
            </p:cNvPr>
            <p:cNvGrpSpPr/>
            <p:nvPr userDrawn="1"/>
          </p:nvGrpSpPr>
          <p:grpSpPr>
            <a:xfrm>
              <a:off x="-275432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2" name="Gerader Verbinder 31">
                <a:extLst>
                  <a:ext uri="{FF2B5EF4-FFF2-40B4-BE49-F238E27FC236}">
                    <a16:creationId xmlns:a16="http://schemas.microsoft.com/office/drawing/2014/main" id="{99D28C8A-CB08-4192-ABDD-A23FBD188DF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r Verbinder 32">
                <a:extLst>
                  <a:ext uri="{FF2B5EF4-FFF2-40B4-BE49-F238E27FC236}">
                    <a16:creationId xmlns:a16="http://schemas.microsoft.com/office/drawing/2014/main" id="{7E377B75-8EB1-4F25-8C6A-A135AD88514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Gruppieren 33">
              <a:extLst>
                <a:ext uri="{FF2B5EF4-FFF2-40B4-BE49-F238E27FC236}">
                  <a16:creationId xmlns:a16="http://schemas.microsoft.com/office/drawing/2014/main" id="{3A6A6AF1-A6BE-4274-B88F-8252F09C734B}"/>
                </a:ext>
              </a:extLst>
            </p:cNvPr>
            <p:cNvGrpSpPr/>
            <p:nvPr userDrawn="1"/>
          </p:nvGrpSpPr>
          <p:grpSpPr>
            <a:xfrm>
              <a:off x="9295606" y="1239838"/>
              <a:ext cx="123826" cy="3345817"/>
              <a:chOff x="-276226" y="1239838"/>
              <a:chExt cx="123826" cy="3345817"/>
            </a:xfrm>
          </p:grpSpPr>
          <p:cxnSp>
            <p:nvCxnSpPr>
              <p:cNvPr id="35" name="Gerader Verbinder 34">
                <a:extLst>
                  <a:ext uri="{FF2B5EF4-FFF2-40B4-BE49-F238E27FC236}">
                    <a16:creationId xmlns:a16="http://schemas.microsoft.com/office/drawing/2014/main" id="{2ECDE6AF-4A10-46FF-B72E-92A482B3035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2" y="1177925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r Verbinder 35">
                <a:extLst>
                  <a:ext uri="{FF2B5EF4-FFF2-40B4-BE49-F238E27FC236}">
                    <a16:creationId xmlns:a16="http://schemas.microsoft.com/office/drawing/2014/main" id="{0BD9BC89-0BDB-4EBC-BE38-E58CB965319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rot="5400000" flipV="1">
                <a:off x="-214313" y="4523742"/>
                <a:ext cx="0" cy="123825"/>
              </a:xfrm>
              <a:prstGeom prst="line">
                <a:avLst/>
              </a:prstGeom>
              <a:ln w="9525" cap="rnd">
                <a:solidFill>
                  <a:schemeClr val="accent4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007804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9" r:id="rId5"/>
    <p:sldLayoutId id="2147483668" r:id="rId6"/>
    <p:sldLayoutId id="2147483671" r:id="rId7"/>
    <p:sldLayoutId id="2147483667" r:id="rId8"/>
    <p:sldLayoutId id="2147483672" r:id="rId9"/>
    <p:sldLayoutId id="2147483673" r:id="rId10"/>
    <p:sldLayoutId id="2147483679" r:id="rId11"/>
    <p:sldLayoutId id="2147483666" r:id="rId12"/>
    <p:sldLayoutId id="2147483674" r:id="rId13"/>
    <p:sldLayoutId id="2147483675" r:id="rId14"/>
    <p:sldLayoutId id="2147483665" r:id="rId15"/>
    <p:sldLayoutId id="2147483676" r:id="rId16"/>
    <p:sldLayoutId id="2147483677" r:id="rId17"/>
    <p:sldLayoutId id="2147483678" r:id="rId18"/>
    <p:sldLayoutId id="2147483670" r:id="rId19"/>
  </p:sldLayoutIdLst>
  <p:hf sldNum="0" hdr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6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Wingdings" panose="05000000000000000000" pitchFamily="2" charset="2"/>
        <a:buNone/>
        <a:defRPr sz="1600" b="1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58775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50" indent="-180975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898525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180000" algn="l" defTabSz="685800" rtl="0" eaLnBrk="1" latinLnBrk="0" hangingPunct="1">
        <a:lnSpc>
          <a:spcPct val="100000"/>
        </a:lnSpc>
        <a:spcBef>
          <a:spcPts val="300"/>
        </a:spcBef>
        <a:buClr>
          <a:schemeClr val="accent2"/>
        </a:buClr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3" userDrawn="1">
          <p15:clr>
            <a:srgbClr val="F26B43"/>
          </p15:clr>
        </p15:guide>
        <p15:guide id="2" pos="2824" userDrawn="1">
          <p15:clr>
            <a:srgbClr val="F26B43"/>
          </p15:clr>
        </p15:guide>
        <p15:guide id="3" pos="2936" userDrawn="1">
          <p15:clr>
            <a:srgbClr val="F26B43"/>
          </p15:clr>
        </p15:guide>
        <p15:guide id="4" pos="5476" userDrawn="1">
          <p15:clr>
            <a:srgbClr val="F26B43"/>
          </p15:clr>
        </p15:guide>
        <p15:guide id="5" orient="horz" pos="781" userDrawn="1">
          <p15:clr>
            <a:srgbClr val="F26B43"/>
          </p15:clr>
        </p15:guide>
        <p15:guide id="6" orient="horz" pos="289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>
            <a:extLst>
              <a:ext uri="{FF2B5EF4-FFF2-40B4-BE49-F238E27FC236}">
                <a16:creationId xmlns:a16="http://schemas.microsoft.com/office/drawing/2014/main" id="{0F7B65FA-2A88-DB52-F139-27168A73507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438" t="1594" r="11798"/>
          <a:stretch/>
        </p:blipFill>
        <p:spPr>
          <a:xfrm>
            <a:off x="-88489" y="-1"/>
            <a:ext cx="9232490" cy="5309419"/>
          </a:xfrm>
          <a:prstGeom prst="rect">
            <a:avLst/>
          </a:prstGeom>
        </p:spPr>
      </p:pic>
      <p:sp>
        <p:nvSpPr>
          <p:cNvPr id="40" name="Freihandform 39">
            <a:extLst>
              <a:ext uri="{FF2B5EF4-FFF2-40B4-BE49-F238E27FC236}">
                <a16:creationId xmlns:a16="http://schemas.microsoft.com/office/drawing/2014/main" id="{33F69F47-3490-8113-2BC0-1E55E945CD41}"/>
              </a:ext>
            </a:extLst>
          </p:cNvPr>
          <p:cNvSpPr/>
          <p:nvPr/>
        </p:nvSpPr>
        <p:spPr>
          <a:xfrm>
            <a:off x="5734369" y="2437501"/>
            <a:ext cx="3416526" cy="2871918"/>
          </a:xfrm>
          <a:custGeom>
            <a:avLst/>
            <a:gdLst>
              <a:gd name="connsiteX0" fmla="*/ 2043687 w 3416526"/>
              <a:gd name="connsiteY0" fmla="*/ 0 h 2871918"/>
              <a:gd name="connsiteX1" fmla="*/ 3343662 w 3416526"/>
              <a:gd name="connsiteY1" fmla="*/ 466679 h 2871918"/>
              <a:gd name="connsiteX2" fmla="*/ 3416526 w 3416526"/>
              <a:gd name="connsiteY2" fmla="*/ 532902 h 2871918"/>
              <a:gd name="connsiteX3" fmla="*/ 3416526 w 3416526"/>
              <a:gd name="connsiteY3" fmla="*/ 2871918 h 2871918"/>
              <a:gd name="connsiteX4" fmla="*/ 176373 w 3416526"/>
              <a:gd name="connsiteY4" fmla="*/ 2871918 h 2871918"/>
              <a:gd name="connsiteX5" fmla="*/ 160603 w 3416526"/>
              <a:gd name="connsiteY5" fmla="*/ 2839182 h 2871918"/>
              <a:gd name="connsiteX6" fmla="*/ 0 w 3416526"/>
              <a:gd name="connsiteY6" fmla="*/ 2043687 h 2871918"/>
              <a:gd name="connsiteX7" fmla="*/ 2043687 w 3416526"/>
              <a:gd name="connsiteY7" fmla="*/ 0 h 2871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16526" h="2871918">
                <a:moveTo>
                  <a:pt x="2043687" y="0"/>
                </a:moveTo>
                <a:cubicBezTo>
                  <a:pt x="2537492" y="0"/>
                  <a:pt x="2990392" y="175135"/>
                  <a:pt x="3343662" y="466679"/>
                </a:cubicBezTo>
                <a:lnTo>
                  <a:pt x="3416526" y="532902"/>
                </a:lnTo>
                <a:lnTo>
                  <a:pt x="3416526" y="2871918"/>
                </a:lnTo>
                <a:lnTo>
                  <a:pt x="176373" y="2871918"/>
                </a:lnTo>
                <a:lnTo>
                  <a:pt x="160603" y="2839182"/>
                </a:lnTo>
                <a:cubicBezTo>
                  <a:pt x="57187" y="2594679"/>
                  <a:pt x="0" y="2325861"/>
                  <a:pt x="0" y="2043687"/>
                </a:cubicBezTo>
                <a:cubicBezTo>
                  <a:pt x="0" y="914990"/>
                  <a:pt x="914990" y="0"/>
                  <a:pt x="204368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72000" rIns="108000" bIns="72000" rtlCol="0" anchor="t">
            <a:noAutofit/>
          </a:bodyPr>
          <a:lstStyle/>
          <a:p>
            <a:pPr algn="l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E2DF1C0-0A03-EC7B-2185-8CEF9A054D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91876" y="1049954"/>
            <a:ext cx="4268968" cy="822029"/>
          </a:xfrm>
        </p:spPr>
        <p:txBody>
          <a:bodyPr/>
          <a:lstStyle/>
          <a:p>
            <a:r>
              <a:rPr lang="de-DE">
                <a:solidFill>
                  <a:schemeClr val="bg1"/>
                </a:solidFill>
              </a:rPr>
              <a:t>Werden Sie zum regionalen Multiplikator!</a:t>
            </a:r>
          </a:p>
        </p:txBody>
      </p:sp>
      <p:sp>
        <p:nvSpPr>
          <p:cNvPr id="8" name="Untertitel 7">
            <a:extLst>
              <a:ext uri="{FF2B5EF4-FFF2-40B4-BE49-F238E27FC236}">
                <a16:creationId xmlns:a16="http://schemas.microsoft.com/office/drawing/2014/main" id="{3D275733-4AA2-BEC7-8614-B9D8C3D6B1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91876" y="2224640"/>
            <a:ext cx="3113877" cy="2084845"/>
          </a:xfrm>
        </p:spPr>
        <p:txBody>
          <a:bodyPr/>
          <a:lstStyle/>
          <a:p>
            <a:pPr>
              <a:tabLst>
                <a:tab pos="1371600" algn="l"/>
              </a:tabLst>
            </a:pPr>
            <a:r>
              <a:rPr lang="de-DE" sz="1600">
                <a:solidFill>
                  <a:schemeClr val="bg1"/>
                </a:solidFill>
              </a:rPr>
              <a:t>Vernetzen Sie sich schon </a:t>
            </a:r>
            <a:br>
              <a:rPr lang="de-DE" sz="1600">
                <a:solidFill>
                  <a:schemeClr val="bg1"/>
                </a:solidFill>
              </a:rPr>
            </a:br>
            <a:r>
              <a:rPr lang="de-DE" sz="1600">
                <a:solidFill>
                  <a:schemeClr val="bg1"/>
                </a:solidFill>
              </a:rPr>
              <a:t>heute, auch in Vorbereitung </a:t>
            </a:r>
          </a:p>
          <a:p>
            <a:pPr>
              <a:tabLst>
                <a:tab pos="1371600" algn="l"/>
              </a:tabLst>
            </a:pPr>
            <a:r>
              <a:rPr lang="de-DE" sz="1600">
                <a:solidFill>
                  <a:schemeClr val="bg1"/>
                </a:solidFill>
              </a:rPr>
              <a:t>für die </a:t>
            </a:r>
            <a:r>
              <a:rPr lang="de-DE" sz="1600" b="1">
                <a:solidFill>
                  <a:schemeClr val="bg1"/>
                </a:solidFill>
              </a:rPr>
              <a:t>IHK-Wahl 2026</a:t>
            </a:r>
            <a:r>
              <a:rPr lang="de-DE" sz="1600">
                <a:solidFill>
                  <a:schemeClr val="bg1"/>
                </a:solidFill>
              </a:rPr>
              <a:t>:</a:t>
            </a:r>
          </a:p>
          <a:p>
            <a:pPr>
              <a:tabLst>
                <a:tab pos="1371600" algn="l"/>
              </a:tabLst>
            </a:pPr>
            <a:endParaRPr lang="de-DE" sz="1600">
              <a:solidFill>
                <a:schemeClr val="bg1"/>
              </a:solidFill>
            </a:endParaRPr>
          </a:p>
          <a:p>
            <a:pPr marL="285750" indent="-28575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de-DE" sz="1600" b="0" dirty="0">
                <a:solidFill>
                  <a:schemeClr val="bg1"/>
                </a:solidFill>
              </a:rPr>
              <a:t>Folgen</a:t>
            </a:r>
          </a:p>
          <a:p>
            <a:pPr marL="285750" indent="-28575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de-DE" sz="1600" b="0" dirty="0">
                <a:solidFill>
                  <a:schemeClr val="bg1"/>
                </a:solidFill>
              </a:rPr>
              <a:t>Liken</a:t>
            </a:r>
          </a:p>
          <a:p>
            <a:pPr marL="285750" indent="-28575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de-DE" sz="1600" b="0" dirty="0">
                <a:solidFill>
                  <a:schemeClr val="bg1"/>
                </a:solidFill>
              </a:rPr>
              <a:t>Teilen</a:t>
            </a:r>
          </a:p>
          <a:p>
            <a:pPr marL="285750" indent="-28575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de-DE" sz="1600" b="0" dirty="0">
                <a:solidFill>
                  <a:schemeClr val="bg1"/>
                </a:solidFill>
              </a:rPr>
              <a:t>Kommentieren</a:t>
            </a:r>
          </a:p>
          <a:p>
            <a:pPr>
              <a:tabLst>
                <a:tab pos="1371600" algn="l"/>
              </a:tabLst>
            </a:pPr>
            <a:endParaRPr lang="de-DE" sz="1600">
              <a:solidFill>
                <a:schemeClr val="bg1"/>
              </a:solidFill>
            </a:endParaRPr>
          </a:p>
          <a:p>
            <a:pPr>
              <a:tabLst>
                <a:tab pos="1371600" algn="l"/>
              </a:tabLst>
            </a:pPr>
            <a:endParaRPr lang="de-DE" sz="1600">
              <a:solidFill>
                <a:schemeClr val="bg1"/>
              </a:solidFill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479A2978-6D97-B0DC-1B9A-A3902DAC561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741932" y="212143"/>
            <a:ext cx="951216" cy="475714"/>
            <a:chOff x="7856284" y="172641"/>
            <a:chExt cx="836870" cy="418528"/>
          </a:xfrm>
        </p:grpSpPr>
        <p:sp>
          <p:nvSpPr>
            <p:cNvPr id="12" name="Freihandform: Form 20">
              <a:extLst>
                <a:ext uri="{FF2B5EF4-FFF2-40B4-BE49-F238E27FC236}">
                  <a16:creationId xmlns:a16="http://schemas.microsoft.com/office/drawing/2014/main" id="{A0158A17-66BA-39D5-6A55-6E810AC96FE3}"/>
                </a:ext>
              </a:extLst>
            </p:cNvPr>
            <p:cNvSpPr/>
            <p:nvPr/>
          </p:nvSpPr>
          <p:spPr bwMode="gray">
            <a:xfrm>
              <a:off x="7856284" y="172641"/>
              <a:ext cx="453901" cy="418528"/>
            </a:xfrm>
            <a:custGeom>
              <a:avLst/>
              <a:gdLst>
                <a:gd name="connsiteX0" fmla="*/ 418433 w 453901"/>
                <a:gd name="connsiteY0" fmla="*/ 0 h 418528"/>
                <a:gd name="connsiteX1" fmla="*/ 0 w 453901"/>
                <a:gd name="connsiteY1" fmla="*/ 0 h 418528"/>
                <a:gd name="connsiteX2" fmla="*/ 0 w 453901"/>
                <a:gd name="connsiteY2" fmla="*/ 418529 h 418528"/>
                <a:gd name="connsiteX3" fmla="*/ 418433 w 453901"/>
                <a:gd name="connsiteY3" fmla="*/ 418529 h 418528"/>
                <a:gd name="connsiteX4" fmla="*/ 418433 w 453901"/>
                <a:gd name="connsiteY4" fmla="*/ 0 h 418528"/>
                <a:gd name="connsiteX5" fmla="*/ 418433 w 453901"/>
                <a:gd name="connsiteY5" fmla="*/ 0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3901" h="418528">
                  <a:moveTo>
                    <a:pt x="418433" y="0"/>
                  </a:moveTo>
                  <a:lnTo>
                    <a:pt x="0" y="0"/>
                  </a:lnTo>
                  <a:lnTo>
                    <a:pt x="0" y="418529"/>
                  </a:lnTo>
                  <a:lnTo>
                    <a:pt x="418433" y="418529"/>
                  </a:lnTo>
                  <a:cubicBezTo>
                    <a:pt x="465677" y="283750"/>
                    <a:pt x="465773" y="134874"/>
                    <a:pt x="418433" y="0"/>
                  </a:cubicBezTo>
                  <a:lnTo>
                    <a:pt x="418433" y="0"/>
                  </a:lnTo>
                  <a:close/>
                </a:path>
              </a:pathLst>
            </a:custGeom>
            <a:solidFill>
              <a:srgbClr val="CAD2E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ihandform: Form 21">
              <a:extLst>
                <a:ext uri="{FF2B5EF4-FFF2-40B4-BE49-F238E27FC236}">
                  <a16:creationId xmlns:a16="http://schemas.microsoft.com/office/drawing/2014/main" id="{76F94783-7D9E-40ED-E7D5-FDE38AF30535}"/>
                </a:ext>
              </a:extLst>
            </p:cNvPr>
            <p:cNvSpPr/>
            <p:nvPr/>
          </p:nvSpPr>
          <p:spPr bwMode="gray">
            <a:xfrm>
              <a:off x="8274717" y="172641"/>
              <a:ext cx="418433" cy="418528"/>
            </a:xfrm>
            <a:custGeom>
              <a:avLst/>
              <a:gdLst>
                <a:gd name="connsiteX0" fmla="*/ 418433 w 418433"/>
                <a:gd name="connsiteY0" fmla="*/ 418529 h 418528"/>
                <a:gd name="connsiteX1" fmla="*/ 0 w 418433"/>
                <a:gd name="connsiteY1" fmla="*/ 418529 h 418528"/>
                <a:gd name="connsiteX2" fmla="*/ 0 w 418433"/>
                <a:gd name="connsiteY2" fmla="*/ 0 h 418528"/>
                <a:gd name="connsiteX3" fmla="*/ 418433 w 418433"/>
                <a:gd name="connsiteY3" fmla="*/ 0 h 418528"/>
                <a:gd name="connsiteX4" fmla="*/ 418433 w 418433"/>
                <a:gd name="connsiteY4" fmla="*/ 418529 h 418528"/>
                <a:gd name="connsiteX5" fmla="*/ 418433 w 418433"/>
                <a:gd name="connsiteY5" fmla="*/ 418529 h 418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8433" h="418528">
                  <a:moveTo>
                    <a:pt x="418433" y="418529"/>
                  </a:moveTo>
                  <a:lnTo>
                    <a:pt x="0" y="418529"/>
                  </a:lnTo>
                  <a:cubicBezTo>
                    <a:pt x="47244" y="283750"/>
                    <a:pt x="47339" y="134969"/>
                    <a:pt x="0" y="0"/>
                  </a:cubicBezTo>
                  <a:lnTo>
                    <a:pt x="418433" y="0"/>
                  </a:lnTo>
                  <a:lnTo>
                    <a:pt x="418433" y="418529"/>
                  </a:lnTo>
                  <a:lnTo>
                    <a:pt x="418433" y="418529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ihandform: Form 22">
              <a:extLst>
                <a:ext uri="{FF2B5EF4-FFF2-40B4-BE49-F238E27FC236}">
                  <a16:creationId xmlns:a16="http://schemas.microsoft.com/office/drawing/2014/main" id="{CD72C227-E214-DB76-E864-9164B130FB1F}"/>
                </a:ext>
              </a:extLst>
            </p:cNvPr>
            <p:cNvSpPr/>
            <p:nvPr/>
          </p:nvSpPr>
          <p:spPr bwMode="gray">
            <a:xfrm>
              <a:off x="8540655" y="242549"/>
              <a:ext cx="117896" cy="139641"/>
            </a:xfrm>
            <a:custGeom>
              <a:avLst/>
              <a:gdLst>
                <a:gd name="connsiteX0" fmla="*/ 109919 w 117896"/>
                <a:gd name="connsiteY0" fmla="*/ 6863 h 139641"/>
                <a:gd name="connsiteX1" fmla="*/ 109156 w 117896"/>
                <a:gd name="connsiteY1" fmla="*/ 5 h 139641"/>
                <a:gd name="connsiteX2" fmla="*/ 90488 w 117896"/>
                <a:gd name="connsiteY2" fmla="*/ 5 h 139641"/>
                <a:gd name="connsiteX3" fmla="*/ 78677 w 117896"/>
                <a:gd name="connsiteY3" fmla="*/ 5720 h 139641"/>
                <a:gd name="connsiteX4" fmla="*/ 26479 w 117896"/>
                <a:gd name="connsiteY4" fmla="*/ 62298 h 139641"/>
                <a:gd name="connsiteX5" fmla="*/ 26384 w 117896"/>
                <a:gd name="connsiteY5" fmla="*/ 6958 h 139641"/>
                <a:gd name="connsiteX6" fmla="*/ 19526 w 117896"/>
                <a:gd name="connsiteY6" fmla="*/ 100 h 139641"/>
                <a:gd name="connsiteX7" fmla="*/ 6858 w 117896"/>
                <a:gd name="connsiteY7" fmla="*/ 100 h 139641"/>
                <a:gd name="connsiteX8" fmla="*/ 0 w 117896"/>
                <a:gd name="connsiteY8" fmla="*/ 6958 h 139641"/>
                <a:gd name="connsiteX9" fmla="*/ 0 w 117896"/>
                <a:gd name="connsiteY9" fmla="*/ 132783 h 139641"/>
                <a:gd name="connsiteX10" fmla="*/ 6858 w 117896"/>
                <a:gd name="connsiteY10" fmla="*/ 139641 h 139641"/>
                <a:gd name="connsiteX11" fmla="*/ 19622 w 117896"/>
                <a:gd name="connsiteY11" fmla="*/ 139641 h 139641"/>
                <a:gd name="connsiteX12" fmla="*/ 26479 w 117896"/>
                <a:gd name="connsiteY12" fmla="*/ 132783 h 139641"/>
                <a:gd name="connsiteX13" fmla="*/ 26479 w 117896"/>
                <a:gd name="connsiteY13" fmla="*/ 99922 h 139641"/>
                <a:gd name="connsiteX14" fmla="*/ 49625 w 117896"/>
                <a:gd name="connsiteY14" fmla="*/ 74871 h 139641"/>
                <a:gd name="connsiteX15" fmla="*/ 85439 w 117896"/>
                <a:gd name="connsiteY15" fmla="*/ 132783 h 139641"/>
                <a:gd name="connsiteX16" fmla="*/ 94869 w 117896"/>
                <a:gd name="connsiteY16" fmla="*/ 139641 h 139641"/>
                <a:gd name="connsiteX17" fmla="*/ 114014 w 117896"/>
                <a:gd name="connsiteY17" fmla="*/ 139641 h 139641"/>
                <a:gd name="connsiteX18" fmla="*/ 116681 w 117896"/>
                <a:gd name="connsiteY18" fmla="*/ 132783 h 139641"/>
                <a:gd name="connsiteX19" fmla="*/ 67247 w 117896"/>
                <a:gd name="connsiteY19" fmla="*/ 55154 h 139641"/>
                <a:gd name="connsiteX20" fmla="*/ 109919 w 117896"/>
                <a:gd name="connsiteY20" fmla="*/ 6863 h 139641"/>
                <a:gd name="connsiteX21" fmla="*/ 109919 w 117896"/>
                <a:gd name="connsiteY21" fmla="*/ 6863 h 13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7896" h="139641">
                  <a:moveTo>
                    <a:pt x="109919" y="6863"/>
                  </a:moveTo>
                  <a:cubicBezTo>
                    <a:pt x="113348" y="3053"/>
                    <a:pt x="112967" y="5"/>
                    <a:pt x="109156" y="5"/>
                  </a:cubicBezTo>
                  <a:lnTo>
                    <a:pt x="90488" y="5"/>
                  </a:lnTo>
                  <a:cubicBezTo>
                    <a:pt x="86677" y="5"/>
                    <a:pt x="84773" y="-376"/>
                    <a:pt x="78677" y="5720"/>
                  </a:cubicBezTo>
                  <a:lnTo>
                    <a:pt x="26479" y="62298"/>
                  </a:lnTo>
                  <a:lnTo>
                    <a:pt x="26384" y="6958"/>
                  </a:lnTo>
                  <a:cubicBezTo>
                    <a:pt x="26384" y="3148"/>
                    <a:pt x="23336" y="100"/>
                    <a:pt x="19526" y="100"/>
                  </a:cubicBezTo>
                  <a:lnTo>
                    <a:pt x="6858" y="100"/>
                  </a:lnTo>
                  <a:cubicBezTo>
                    <a:pt x="3048" y="100"/>
                    <a:pt x="0" y="3148"/>
                    <a:pt x="0" y="6958"/>
                  </a:cubicBezTo>
                  <a:lnTo>
                    <a:pt x="0" y="132783"/>
                  </a:lnTo>
                  <a:cubicBezTo>
                    <a:pt x="0" y="136593"/>
                    <a:pt x="3048" y="139641"/>
                    <a:pt x="6858" y="139641"/>
                  </a:cubicBezTo>
                  <a:lnTo>
                    <a:pt x="19622" y="139641"/>
                  </a:lnTo>
                  <a:cubicBezTo>
                    <a:pt x="23431" y="139641"/>
                    <a:pt x="26479" y="136593"/>
                    <a:pt x="26479" y="132783"/>
                  </a:cubicBezTo>
                  <a:lnTo>
                    <a:pt x="26479" y="99922"/>
                  </a:lnTo>
                  <a:lnTo>
                    <a:pt x="49625" y="74871"/>
                  </a:lnTo>
                  <a:lnTo>
                    <a:pt x="85439" y="132783"/>
                  </a:lnTo>
                  <a:cubicBezTo>
                    <a:pt x="87725" y="136593"/>
                    <a:pt x="91059" y="139641"/>
                    <a:pt x="94869" y="139641"/>
                  </a:cubicBezTo>
                  <a:lnTo>
                    <a:pt x="114014" y="139641"/>
                  </a:lnTo>
                  <a:cubicBezTo>
                    <a:pt x="117824" y="139641"/>
                    <a:pt x="119063" y="136593"/>
                    <a:pt x="116681" y="132783"/>
                  </a:cubicBezTo>
                  <a:lnTo>
                    <a:pt x="67247" y="55154"/>
                  </a:lnTo>
                  <a:lnTo>
                    <a:pt x="109919" y="6863"/>
                  </a:lnTo>
                  <a:lnTo>
                    <a:pt x="109919" y="686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ihandform: Form 23">
              <a:extLst>
                <a:ext uri="{FF2B5EF4-FFF2-40B4-BE49-F238E27FC236}">
                  <a16:creationId xmlns:a16="http://schemas.microsoft.com/office/drawing/2014/main" id="{A1F80420-5BDE-C233-A815-D5B912A8998F}"/>
                </a:ext>
              </a:extLst>
            </p:cNvPr>
            <p:cNvSpPr/>
            <p:nvPr/>
          </p:nvSpPr>
          <p:spPr bwMode="gray">
            <a:xfrm>
              <a:off x="8344440" y="242459"/>
              <a:ext cx="27717" cy="139541"/>
            </a:xfrm>
            <a:custGeom>
              <a:avLst/>
              <a:gdLst>
                <a:gd name="connsiteX0" fmla="*/ 0 w 27717"/>
                <a:gd name="connsiteY0" fmla="*/ 132683 h 139541"/>
                <a:gd name="connsiteX1" fmla="*/ 6858 w 27717"/>
                <a:gd name="connsiteY1" fmla="*/ 139541 h 139541"/>
                <a:gd name="connsiteX2" fmla="*/ 20765 w 27717"/>
                <a:gd name="connsiteY2" fmla="*/ 139541 h 139541"/>
                <a:gd name="connsiteX3" fmla="*/ 27623 w 27717"/>
                <a:gd name="connsiteY3" fmla="*/ 132683 h 139541"/>
                <a:gd name="connsiteX4" fmla="*/ 27718 w 27717"/>
                <a:gd name="connsiteY4" fmla="*/ 6858 h 139541"/>
                <a:gd name="connsiteX5" fmla="*/ 20860 w 27717"/>
                <a:gd name="connsiteY5" fmla="*/ 0 h 139541"/>
                <a:gd name="connsiteX6" fmla="*/ 6953 w 27717"/>
                <a:gd name="connsiteY6" fmla="*/ 0 h 139541"/>
                <a:gd name="connsiteX7" fmla="*/ 95 w 27717"/>
                <a:gd name="connsiteY7" fmla="*/ 6858 h 139541"/>
                <a:gd name="connsiteX8" fmla="*/ 0 w 27717"/>
                <a:gd name="connsiteY8" fmla="*/ 132683 h 139541"/>
                <a:gd name="connsiteX9" fmla="*/ 0 w 27717"/>
                <a:gd name="connsiteY9" fmla="*/ 132683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717" h="139541">
                  <a:moveTo>
                    <a:pt x="0" y="132683"/>
                  </a:moveTo>
                  <a:cubicBezTo>
                    <a:pt x="0" y="136493"/>
                    <a:pt x="3048" y="139541"/>
                    <a:pt x="6858" y="139541"/>
                  </a:cubicBezTo>
                  <a:lnTo>
                    <a:pt x="20765" y="139541"/>
                  </a:lnTo>
                  <a:cubicBezTo>
                    <a:pt x="24575" y="139541"/>
                    <a:pt x="27623" y="136493"/>
                    <a:pt x="27623" y="132683"/>
                  </a:cubicBezTo>
                  <a:lnTo>
                    <a:pt x="27718" y="6858"/>
                  </a:lnTo>
                  <a:cubicBezTo>
                    <a:pt x="27718" y="3048"/>
                    <a:pt x="24670" y="0"/>
                    <a:pt x="20860" y="0"/>
                  </a:cubicBezTo>
                  <a:lnTo>
                    <a:pt x="6953" y="0"/>
                  </a:lnTo>
                  <a:cubicBezTo>
                    <a:pt x="3143" y="0"/>
                    <a:pt x="95" y="3048"/>
                    <a:pt x="95" y="6858"/>
                  </a:cubicBezTo>
                  <a:lnTo>
                    <a:pt x="0" y="132683"/>
                  </a:lnTo>
                  <a:lnTo>
                    <a:pt x="0" y="132683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ihandform: Form 24">
              <a:extLst>
                <a:ext uri="{FF2B5EF4-FFF2-40B4-BE49-F238E27FC236}">
                  <a16:creationId xmlns:a16="http://schemas.microsoft.com/office/drawing/2014/main" id="{DA62B8E8-0B13-A3E0-3161-DC0D2B9FB30E}"/>
                </a:ext>
              </a:extLst>
            </p:cNvPr>
            <p:cNvSpPr/>
            <p:nvPr/>
          </p:nvSpPr>
          <p:spPr bwMode="gray">
            <a:xfrm>
              <a:off x="8401114" y="242554"/>
              <a:ext cx="110490" cy="139541"/>
            </a:xfrm>
            <a:custGeom>
              <a:avLst/>
              <a:gdLst>
                <a:gd name="connsiteX0" fmla="*/ 82963 w 110490"/>
                <a:gd name="connsiteY0" fmla="*/ 6858 h 139541"/>
                <a:gd name="connsiteX1" fmla="*/ 89821 w 110490"/>
                <a:gd name="connsiteY1" fmla="*/ 0 h 139541"/>
                <a:gd name="connsiteX2" fmla="*/ 103632 w 110490"/>
                <a:gd name="connsiteY2" fmla="*/ 0 h 139541"/>
                <a:gd name="connsiteX3" fmla="*/ 110490 w 110490"/>
                <a:gd name="connsiteY3" fmla="*/ 6858 h 139541"/>
                <a:gd name="connsiteX4" fmla="*/ 110490 w 110490"/>
                <a:gd name="connsiteY4" fmla="*/ 132683 h 139541"/>
                <a:gd name="connsiteX5" fmla="*/ 103632 w 110490"/>
                <a:gd name="connsiteY5" fmla="*/ 139541 h 139541"/>
                <a:gd name="connsiteX6" fmla="*/ 89916 w 110490"/>
                <a:gd name="connsiteY6" fmla="*/ 139541 h 139541"/>
                <a:gd name="connsiteX7" fmla="*/ 83058 w 110490"/>
                <a:gd name="connsiteY7" fmla="*/ 132683 h 139541"/>
                <a:gd name="connsiteX8" fmla="*/ 82963 w 110490"/>
                <a:gd name="connsiteY8" fmla="*/ 80867 h 139541"/>
                <a:gd name="connsiteX9" fmla="*/ 27527 w 110490"/>
                <a:gd name="connsiteY9" fmla="*/ 80867 h 139541"/>
                <a:gd name="connsiteX10" fmla="*/ 27527 w 110490"/>
                <a:gd name="connsiteY10" fmla="*/ 132683 h 139541"/>
                <a:gd name="connsiteX11" fmla="*/ 20669 w 110490"/>
                <a:gd name="connsiteY11" fmla="*/ 139541 h 139541"/>
                <a:gd name="connsiteX12" fmla="*/ 6858 w 110490"/>
                <a:gd name="connsiteY12" fmla="*/ 139541 h 139541"/>
                <a:gd name="connsiteX13" fmla="*/ 0 w 110490"/>
                <a:gd name="connsiteY13" fmla="*/ 132683 h 139541"/>
                <a:gd name="connsiteX14" fmla="*/ 0 w 110490"/>
                <a:gd name="connsiteY14" fmla="*/ 6858 h 139541"/>
                <a:gd name="connsiteX15" fmla="*/ 6858 w 110490"/>
                <a:gd name="connsiteY15" fmla="*/ 0 h 139541"/>
                <a:gd name="connsiteX16" fmla="*/ 20669 w 110490"/>
                <a:gd name="connsiteY16" fmla="*/ 0 h 139541"/>
                <a:gd name="connsiteX17" fmla="*/ 27527 w 110490"/>
                <a:gd name="connsiteY17" fmla="*/ 6858 h 139541"/>
                <a:gd name="connsiteX18" fmla="*/ 27432 w 110490"/>
                <a:gd name="connsiteY18" fmla="*/ 57436 h 139541"/>
                <a:gd name="connsiteX19" fmla="*/ 82868 w 110490"/>
                <a:gd name="connsiteY19" fmla="*/ 57436 h 139541"/>
                <a:gd name="connsiteX20" fmla="*/ 82963 w 110490"/>
                <a:gd name="connsiteY20" fmla="*/ 6858 h 139541"/>
                <a:gd name="connsiteX21" fmla="*/ 82963 w 110490"/>
                <a:gd name="connsiteY21" fmla="*/ 6858 h 139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0490" h="139541">
                  <a:moveTo>
                    <a:pt x="82963" y="6858"/>
                  </a:moveTo>
                  <a:cubicBezTo>
                    <a:pt x="82963" y="3048"/>
                    <a:pt x="86011" y="0"/>
                    <a:pt x="89821" y="0"/>
                  </a:cubicBezTo>
                  <a:lnTo>
                    <a:pt x="103632" y="0"/>
                  </a:lnTo>
                  <a:cubicBezTo>
                    <a:pt x="107442" y="0"/>
                    <a:pt x="110490" y="3048"/>
                    <a:pt x="110490" y="6858"/>
                  </a:cubicBezTo>
                  <a:lnTo>
                    <a:pt x="110490" y="132683"/>
                  </a:lnTo>
                  <a:cubicBezTo>
                    <a:pt x="110490" y="136493"/>
                    <a:pt x="107442" y="139541"/>
                    <a:pt x="103632" y="139541"/>
                  </a:cubicBezTo>
                  <a:lnTo>
                    <a:pt x="89916" y="139541"/>
                  </a:lnTo>
                  <a:cubicBezTo>
                    <a:pt x="86106" y="139541"/>
                    <a:pt x="83058" y="136493"/>
                    <a:pt x="83058" y="132683"/>
                  </a:cubicBezTo>
                  <a:lnTo>
                    <a:pt x="82963" y="80867"/>
                  </a:lnTo>
                  <a:lnTo>
                    <a:pt x="27527" y="80867"/>
                  </a:lnTo>
                  <a:lnTo>
                    <a:pt x="27527" y="132683"/>
                  </a:lnTo>
                  <a:cubicBezTo>
                    <a:pt x="27527" y="136493"/>
                    <a:pt x="24479" y="139541"/>
                    <a:pt x="20669" y="139541"/>
                  </a:cubicBezTo>
                  <a:lnTo>
                    <a:pt x="6858" y="139541"/>
                  </a:lnTo>
                  <a:cubicBezTo>
                    <a:pt x="3048" y="139541"/>
                    <a:pt x="0" y="136493"/>
                    <a:pt x="0" y="132683"/>
                  </a:cubicBezTo>
                  <a:lnTo>
                    <a:pt x="0" y="6858"/>
                  </a:lnTo>
                  <a:cubicBezTo>
                    <a:pt x="0" y="3048"/>
                    <a:pt x="3048" y="0"/>
                    <a:pt x="6858" y="0"/>
                  </a:cubicBezTo>
                  <a:lnTo>
                    <a:pt x="20669" y="0"/>
                  </a:lnTo>
                  <a:cubicBezTo>
                    <a:pt x="24479" y="0"/>
                    <a:pt x="27527" y="3048"/>
                    <a:pt x="27527" y="6858"/>
                  </a:cubicBezTo>
                  <a:lnTo>
                    <a:pt x="27432" y="57436"/>
                  </a:lnTo>
                  <a:lnTo>
                    <a:pt x="82868" y="57436"/>
                  </a:lnTo>
                  <a:lnTo>
                    <a:pt x="82963" y="6858"/>
                  </a:lnTo>
                  <a:lnTo>
                    <a:pt x="82963" y="685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ihandform: Form 25">
              <a:extLst>
                <a:ext uri="{FF2B5EF4-FFF2-40B4-BE49-F238E27FC236}">
                  <a16:creationId xmlns:a16="http://schemas.microsoft.com/office/drawing/2014/main" id="{0927A19A-26BB-D35F-2D20-BA1956EECE2B}"/>
                </a:ext>
              </a:extLst>
            </p:cNvPr>
            <p:cNvSpPr/>
            <p:nvPr/>
          </p:nvSpPr>
          <p:spPr bwMode="gray">
            <a:xfrm>
              <a:off x="7974203" y="242840"/>
              <a:ext cx="91059" cy="278511"/>
            </a:xfrm>
            <a:custGeom>
              <a:avLst/>
              <a:gdLst>
                <a:gd name="connsiteX0" fmla="*/ 91059 w 91059"/>
                <a:gd name="connsiteY0" fmla="*/ 0 h 278511"/>
                <a:gd name="connsiteX1" fmla="*/ 0 w 91059"/>
                <a:gd name="connsiteY1" fmla="*/ 139256 h 278511"/>
                <a:gd name="connsiteX2" fmla="*/ 91059 w 91059"/>
                <a:gd name="connsiteY2" fmla="*/ 278511 h 278511"/>
                <a:gd name="connsiteX3" fmla="*/ 91059 w 91059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9" h="278511">
                  <a:moveTo>
                    <a:pt x="91059" y="0"/>
                  </a:moveTo>
                  <a:lnTo>
                    <a:pt x="0" y="139256"/>
                  </a:lnTo>
                  <a:lnTo>
                    <a:pt x="91059" y="278511"/>
                  </a:lnTo>
                  <a:lnTo>
                    <a:pt x="91059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ihandform: Form 26">
              <a:extLst>
                <a:ext uri="{FF2B5EF4-FFF2-40B4-BE49-F238E27FC236}">
                  <a16:creationId xmlns:a16="http://schemas.microsoft.com/office/drawing/2014/main" id="{3281FB39-53BF-A15A-AA07-44B8DEE87DEF}"/>
                </a:ext>
              </a:extLst>
            </p:cNvPr>
            <p:cNvSpPr/>
            <p:nvPr/>
          </p:nvSpPr>
          <p:spPr bwMode="gray">
            <a:xfrm>
              <a:off x="8065262" y="242840"/>
              <a:ext cx="91058" cy="278511"/>
            </a:xfrm>
            <a:custGeom>
              <a:avLst/>
              <a:gdLst>
                <a:gd name="connsiteX0" fmla="*/ 0 w 91058"/>
                <a:gd name="connsiteY0" fmla="*/ 0 h 278511"/>
                <a:gd name="connsiteX1" fmla="*/ 91059 w 91058"/>
                <a:gd name="connsiteY1" fmla="*/ 139256 h 278511"/>
                <a:gd name="connsiteX2" fmla="*/ 0 w 91058"/>
                <a:gd name="connsiteY2" fmla="*/ 278511 h 278511"/>
                <a:gd name="connsiteX3" fmla="*/ 0 w 91058"/>
                <a:gd name="connsiteY3" fmla="*/ 0 h 278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058" h="278511">
                  <a:moveTo>
                    <a:pt x="0" y="0"/>
                  </a:moveTo>
                  <a:lnTo>
                    <a:pt x="91059" y="139256"/>
                  </a:lnTo>
                  <a:lnTo>
                    <a:pt x="0" y="2785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0" name="Untertitel 7">
            <a:extLst>
              <a:ext uri="{FF2B5EF4-FFF2-40B4-BE49-F238E27FC236}">
                <a16:creationId xmlns:a16="http://schemas.microsoft.com/office/drawing/2014/main" id="{5BBB6575-EDF7-87F9-DAC7-5B7D90CA1912}"/>
              </a:ext>
            </a:extLst>
          </p:cNvPr>
          <p:cNvSpPr txBox="1">
            <a:spLocks/>
          </p:cNvSpPr>
          <p:nvPr/>
        </p:nvSpPr>
        <p:spPr bwMode="gray">
          <a:xfrm>
            <a:off x="6013689" y="2751912"/>
            <a:ext cx="3381849" cy="117755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400" b="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b="1">
                <a:solidFill>
                  <a:schemeClr val="accent1"/>
                </a:solidFill>
              </a:rPr>
              <a:t>Folgen Sie </a:t>
            </a:r>
            <a:br>
              <a:rPr lang="de-DE" b="1">
                <a:solidFill>
                  <a:schemeClr val="accent1"/>
                </a:solidFill>
              </a:rPr>
            </a:br>
            <a:r>
              <a:rPr lang="de-DE" b="1">
                <a:solidFill>
                  <a:schemeClr val="accent1"/>
                </a:solidFill>
              </a:rPr>
              <a:t>uns auf LinkedIn!</a:t>
            </a:r>
          </a:p>
          <a:p>
            <a:pPr algn="ctr"/>
            <a:endParaRPr lang="de-DE" b="1">
              <a:solidFill>
                <a:schemeClr val="accent1"/>
              </a:solidFill>
            </a:endParaRPr>
          </a:p>
          <a:p>
            <a:pPr algn="ctr"/>
            <a:endParaRPr lang="de-DE" b="1">
              <a:solidFill>
                <a:schemeClr val="accent1"/>
              </a:solidFill>
            </a:endParaRPr>
          </a:p>
          <a:p>
            <a:pPr algn="ctr"/>
            <a:endParaRPr lang="de-DE" b="1">
              <a:solidFill>
                <a:schemeClr val="accent1"/>
              </a:solidFill>
            </a:endParaRPr>
          </a:p>
          <a:p>
            <a:pPr algn="ctr"/>
            <a:endParaRPr lang="de-DE" b="1">
              <a:solidFill>
                <a:schemeClr val="accent1"/>
              </a:solidFill>
            </a:endParaRPr>
          </a:p>
          <a:p>
            <a:pPr algn="ctr"/>
            <a:endParaRPr lang="de-DE" b="1">
              <a:solidFill>
                <a:schemeClr val="accent1"/>
              </a:solidFill>
            </a:endParaRPr>
          </a:p>
          <a:p>
            <a:pPr algn="ctr"/>
            <a:endParaRPr lang="de-DE" b="1">
              <a:solidFill>
                <a:schemeClr val="accent1"/>
              </a:solidFill>
            </a:endParaRPr>
          </a:p>
          <a:p>
            <a:pPr algn="ctr"/>
            <a:br>
              <a:rPr lang="de-DE" b="1"/>
            </a:br>
            <a:endParaRPr lang="de-DE" b="1"/>
          </a:p>
          <a:p>
            <a:pPr algn="ctr"/>
            <a:r>
              <a:rPr lang="de-DE" sz="1200"/>
              <a:t>    linkedin.com/company/ihk-muenchen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E6EE9DC8-CF00-245A-1BB6-CA4659C7B4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161656" y="3627278"/>
            <a:ext cx="144043" cy="144043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4872954B-BADA-E440-AE80-17AA005E388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82344" y="3361521"/>
            <a:ext cx="1380422" cy="1380422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C1CDB21-6FE8-07EC-4C48-CB77545001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49668" y="4912797"/>
            <a:ext cx="144043" cy="144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861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ZroOkhcWrdmzHqHrIkl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860W_wC.2IisNGIWvc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qwZ8pPPkahoDuWymMXjg"/>
</p:tagLst>
</file>

<file path=ppt/theme/theme1.xml><?xml version="1.0" encoding="utf-8"?>
<a:theme xmlns:a="http://schemas.openxmlformats.org/drawingml/2006/main" name="IHK_Master_2020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108000" tIns="72000" rIns="108000" bIns="72000" rtlCol="0" anchor="t">
        <a:noAutofit/>
      </a:bodyPr>
      <a:lstStyle>
        <a:defPPr algn="l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B3B2B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custClrLst>
    <a:custClr name="Titan 100%">
      <a:srgbClr val="575756"/>
    </a:custClr>
    <a:custClr name="Titan 80%">
      <a:srgbClr val="797978"/>
    </a:custClr>
    <a:custClr name="Titan 70%">
      <a:srgbClr val="8A8A89"/>
    </a:custClr>
    <a:custClr name="Titan 60%">
      <a:srgbClr val="9A9A9A"/>
    </a:custClr>
    <a:custClr name="Titan 50%">
      <a:srgbClr val="ABABAA"/>
    </a:custClr>
    <a:custClr name="Titan 40%">
      <a:srgbClr val="BCBCBB"/>
    </a:custClr>
    <a:custClr name="Titan 30%">
      <a:srgbClr val="CCCCCC"/>
    </a:custClr>
    <a:custClr name="Titan 20%">
      <a:srgbClr val="DDDDDD"/>
    </a:custClr>
    <a:custClr name="Titan 10%">
      <a:srgbClr val="EEEEEE"/>
    </a:custClr>
    <a:custClr name="White">
      <a:srgbClr val="FFFFFF"/>
    </a:custClr>
    <a:custClr name="Sky 100%">
      <a:srgbClr val="009ED4"/>
    </a:custClr>
    <a:custClr name="Sky 80%">
      <a:srgbClr val="33B1DD"/>
    </a:custClr>
    <a:custClr name="Sky 70%">
      <a:srgbClr val="4DBBE1"/>
    </a:custClr>
    <a:custClr name="Sky 60%">
      <a:srgbClr val="66C5E5"/>
    </a:custClr>
    <a:custClr name="Sky 50%">
      <a:srgbClr val="7FCEE9"/>
    </a:custClr>
    <a:custClr name="Sky 40%">
      <a:srgbClr val="99D8EE"/>
    </a:custClr>
    <a:custClr name="Sky 30%">
      <a:srgbClr val="B2E2F2"/>
    </a:custClr>
    <a:custClr name="Sky 20%">
      <a:srgbClr val="CCECF6"/>
    </a:custClr>
    <a:custClr name="Sky 10%">
      <a:srgbClr val="E5F5FB"/>
    </a:custClr>
    <a:custClr name="White">
      <a:srgbClr val="FFFFFF"/>
    </a:custClr>
    <a:custClr name="Ocean">
      <a:srgbClr val="003366"/>
    </a:custClr>
    <a:custClr name="Lime">
      <a:srgbClr val="76B82A"/>
    </a:custClr>
    <a:custClr name="Hibiskus">
      <a:srgbClr val="E40D2E"/>
    </a:custClr>
    <a:custClr name="Mauve">
      <a:srgbClr val="9F5098"/>
    </a:custClr>
    <a:custClr name="Mandarin">
      <a:srgbClr val="F0821A"/>
    </a:custClr>
    <a:custClr name="Sun">
      <a:srgbClr val="FFCE00"/>
    </a:custClr>
    <a:custClr name="Stone">
      <a:srgbClr val="B1B3B4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IHK-Template 2024" id="{66DF9368-2259-4AC3-A445-FCFC98487F31}" vid="{04AA325C-BCC4-483A-A37C-C6470A6A988B}"/>
    </a:ext>
  </a:extLst>
</a:theme>
</file>

<file path=ppt/theme/theme2.xml><?xml version="1.0" encoding="utf-8"?>
<a:theme xmlns:a="http://schemas.openxmlformats.org/drawingml/2006/main" name="Office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IHK_Farben">
      <a:dk1>
        <a:sysClr val="windowText" lastClr="000000"/>
      </a:dk1>
      <a:lt1>
        <a:sysClr val="window" lastClr="FFFFFF"/>
      </a:lt1>
      <a:dk2>
        <a:srgbClr val="58585A"/>
      </a:dk2>
      <a:lt2>
        <a:srgbClr val="EEEEEE"/>
      </a:lt2>
      <a:accent1>
        <a:srgbClr val="003366"/>
      </a:accent1>
      <a:accent2>
        <a:srgbClr val="009ED4"/>
      </a:accent2>
      <a:accent3>
        <a:srgbClr val="B1B3B4"/>
      </a:accent3>
      <a:accent4>
        <a:srgbClr val="FFCE00"/>
      </a:accent4>
      <a:accent5>
        <a:srgbClr val="7EC8EC"/>
      </a:accent5>
      <a:accent6>
        <a:srgbClr val="F0821A"/>
      </a:accent6>
      <a:hlink>
        <a:srgbClr val="003366"/>
      </a:hlink>
      <a:folHlink>
        <a:srgbClr val="009ED4"/>
      </a:folHlink>
    </a:clrScheme>
    <a:fontScheme name="IHK_Schrifte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37D5C4606E6754A85FF17C944E6CC99" ma:contentTypeVersion="17" ma:contentTypeDescription="Ein neues Dokument erstellen." ma:contentTypeScope="" ma:versionID="811042f0ab363d3520bdfbb34aadc5ff">
  <xsd:schema xmlns:xsd="http://www.w3.org/2001/XMLSchema" xmlns:xs="http://www.w3.org/2001/XMLSchema" xmlns:p="http://schemas.microsoft.com/office/2006/metadata/properties" xmlns:ns1="http://schemas.microsoft.com/sharepoint/v3" xmlns:ns2="a04dc6fb-b7f1-4703-aa16-3aaf5a84df0f" xmlns:ns3="7055c22d-a8fe-4eff-a0e9-a5abd381db3c" targetNamespace="http://schemas.microsoft.com/office/2006/metadata/properties" ma:root="true" ma:fieldsID="f9e8bb9a352052af0db8f24576456244" ns1:_="" ns2:_="" ns3:_="">
    <xsd:import namespace="http://schemas.microsoft.com/sharepoint/v3"/>
    <xsd:import namespace="a04dc6fb-b7f1-4703-aa16-3aaf5a84df0f"/>
    <xsd:import namespace="7055c22d-a8fe-4eff-a0e9-a5abd381db3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2:MediaLengthInSecond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9" nillable="true" ma:displayName="Eigenschaften der einheitlichen Compliancerichtlinie" ma:hidden="true" ma:internalName="_ip_UnifiedCompliancePolicyProperties">
      <xsd:simpleType>
        <xsd:restriction base="dms:Note"/>
      </xsd:simpleType>
    </xsd:element>
    <xsd:element name="_ip_UnifiedCompliancePolicyUIAction" ma:index="20" nillable="true" ma:displayName="UI-Aktion der einheitlichen Compliancerichtlinie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4dc6fb-b7f1-4703-aa16-3aaf5a84df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15451bee-5533-49a1-8dd5-f30616748e5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55c22d-a8fe-4eff-a0e9-a5abd381db3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80c1e279-5997-4643-bdcd-d4c146cb2c49}" ma:internalName="TaxCatchAll" ma:showField="CatchAllData" ma:web="7055c22d-a8fe-4eff-a0e9-a5abd381db3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BCF7CC8-C363-46AA-A450-F65D526A4CA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572056B-847C-4B5F-8EA3-54D68590E5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04dc6fb-b7f1-4703-aa16-3aaf5a84df0f"/>
    <ds:schemaRef ds:uri="7055c22d-a8fe-4eff-a0e9-a5abd381db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HK-Template 2024</Template>
  <TotalTime>0</TotalTime>
  <Words>41</Words>
  <Application>Microsoft Office PowerPoint</Application>
  <PresentationFormat>Bildschirmpräsentation (16:9)</PresentationFormat>
  <Paragraphs>17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5" baseType="lpstr">
      <vt:lpstr>Arial</vt:lpstr>
      <vt:lpstr>Wingdings</vt:lpstr>
      <vt:lpstr>IHK_Master_2020</vt:lpstr>
      <vt:lpstr>think-cell Folie</vt:lpstr>
      <vt:lpstr>Werden Sie zum regionalen Multiplikator!</vt:lpstr>
    </vt:vector>
  </TitlesOfParts>
  <Company>IHK München und Oberbayer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rden Sie zum regionalen Multiplikator!</dc:title>
  <dc:creator>Susanne Kunzelmann</dc:creator>
  <cp:lastModifiedBy>Susanne Kunzelmann</cp:lastModifiedBy>
  <cp:revision>1</cp:revision>
  <cp:lastPrinted>2020-07-13T13:33:26Z</cp:lastPrinted>
  <dcterms:created xsi:type="dcterms:W3CDTF">2024-05-24T09:49:00Z</dcterms:created>
  <dcterms:modified xsi:type="dcterms:W3CDTF">2024-05-24T10:11:24Z</dcterms:modified>
</cp:coreProperties>
</file>